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9"/>
  </p:notesMasterIdLst>
  <p:sldIdLst>
    <p:sldId id="256" r:id="rId5"/>
    <p:sldId id="2147483483" r:id="rId6"/>
    <p:sldId id="2147481238" r:id="rId7"/>
    <p:sldId id="2147483478" r:id="rId8"/>
    <p:sldId id="2147481286" r:id="rId9"/>
    <p:sldId id="2147483480" r:id="rId10"/>
    <p:sldId id="2147481257" r:id="rId11"/>
    <p:sldId id="2147481550" r:id="rId12"/>
    <p:sldId id="2147483479" r:id="rId13"/>
    <p:sldId id="2147481538" r:id="rId14"/>
    <p:sldId id="2147481539" r:id="rId15"/>
    <p:sldId id="2147483481" r:id="rId16"/>
    <p:sldId id="2147483482" r:id="rId17"/>
    <p:sldId id="2147481244"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C23C4E1-5A5B-B24F-9C4F-9EC9608C1A99}" name="Jauhar, Mehar (A&amp;F)" initials="" userId="S::Mehar.Jauhar@mass.gov::6b184fc0-f80d-46ab-a4ba-4a5755ad07a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A70100-25FA-4CC2-BC9E-A4EEA2C057BC}" v="3" dt="2025-03-30T23:56:49.818"/>
    <p1510:client id="{5B9B7D35-435F-5C4F-80C8-D85845B1C051}" v="244" dt="2025-03-31T13:40:32.3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87" autoAdjust="0"/>
    <p:restoredTop sz="94660"/>
  </p:normalViewPr>
  <p:slideViewPr>
    <p:cSldViewPr snapToGrid="0">
      <p:cViewPr varScale="1">
        <p:scale>
          <a:sx n="112" d="100"/>
          <a:sy n="112" d="100"/>
        </p:scale>
        <p:origin x="26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_rels/data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_rels/drawing2.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svg"/><Relationship Id="rId1" Type="http://schemas.openxmlformats.org/officeDocument/2006/relationships/image" Target="../media/image3.png"/><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98DC64B-4E2D-44E2-9DF7-09484415FC99}"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B2810EDB-9A72-44F8-A3CB-2A8825F4607A}">
      <dgm:prSet custT="1"/>
      <dgm:spPr/>
      <dgm:t>
        <a:bodyPr/>
        <a:lstStyle/>
        <a:p>
          <a:pPr>
            <a:buFont typeface="+mj-lt"/>
            <a:buAutoNum type="romanUcPeriod"/>
          </a:pPr>
          <a:r>
            <a:rPr lang="en-US" sz="3600" dirty="0">
              <a:latin typeface="+mn-lt"/>
            </a:rPr>
            <a:t>Federal Outlook and Strategies for Competitiveness</a:t>
          </a:r>
        </a:p>
      </dgm:t>
    </dgm:pt>
    <dgm:pt modelId="{FF8E8F73-A599-4DF5-B3FA-81BF4D105327}" type="parTrans" cxnId="{551EEA0E-0D9A-45A5-A338-6270002B468F}">
      <dgm:prSet/>
      <dgm:spPr/>
      <dgm:t>
        <a:bodyPr/>
        <a:lstStyle/>
        <a:p>
          <a:endParaRPr lang="en-US"/>
        </a:p>
      </dgm:t>
    </dgm:pt>
    <dgm:pt modelId="{36CFDA12-AA72-4B35-9F27-5DA9485D97E4}" type="sibTrans" cxnId="{551EEA0E-0D9A-45A5-A338-6270002B468F}">
      <dgm:prSet/>
      <dgm:spPr/>
      <dgm:t>
        <a:bodyPr/>
        <a:lstStyle/>
        <a:p>
          <a:endParaRPr lang="en-US"/>
        </a:p>
      </dgm:t>
    </dgm:pt>
    <dgm:pt modelId="{A7D33C84-7D67-46F0-8912-D9E4252C7EDE}">
      <dgm:prSet custT="1"/>
      <dgm:spPr/>
      <dgm:t>
        <a:bodyPr/>
        <a:lstStyle/>
        <a:p>
          <a:pPr>
            <a:buFont typeface="+mj-lt"/>
            <a:buAutoNum type="romanUcPeriod"/>
          </a:pPr>
          <a:r>
            <a:rPr lang="en-US" sz="3600" dirty="0">
              <a:latin typeface="+mn-lt"/>
            </a:rPr>
            <a:t>About the Federal Funds and Infrastructure Office (FFIO)</a:t>
          </a:r>
        </a:p>
      </dgm:t>
    </dgm:pt>
    <dgm:pt modelId="{8BA91B17-3750-434E-8342-D3EF4C7EF856}" type="parTrans" cxnId="{07F1EA80-A907-47B5-BAF5-313F225B0A67}">
      <dgm:prSet/>
      <dgm:spPr/>
      <dgm:t>
        <a:bodyPr/>
        <a:lstStyle/>
        <a:p>
          <a:endParaRPr lang="en-US"/>
        </a:p>
      </dgm:t>
    </dgm:pt>
    <dgm:pt modelId="{66F52283-3F86-40B7-A353-2FA007485BE5}" type="sibTrans" cxnId="{07F1EA80-A907-47B5-BAF5-313F225B0A67}">
      <dgm:prSet/>
      <dgm:spPr/>
      <dgm:t>
        <a:bodyPr/>
        <a:lstStyle/>
        <a:p>
          <a:endParaRPr lang="en-US"/>
        </a:p>
      </dgm:t>
    </dgm:pt>
    <dgm:pt modelId="{E7C2B22D-C189-4897-801E-1B40AD7C1D15}">
      <dgm:prSet custT="1"/>
      <dgm:spPr/>
      <dgm:t>
        <a:bodyPr/>
        <a:lstStyle/>
        <a:p>
          <a:pPr marL="0" lvl="0" indent="0" algn="l" defTabSz="1600200" rtl="0">
            <a:lnSpc>
              <a:spcPct val="90000"/>
            </a:lnSpc>
            <a:spcBef>
              <a:spcPct val="0"/>
            </a:spcBef>
            <a:spcAft>
              <a:spcPct val="35000"/>
            </a:spcAft>
            <a:buFont typeface="+mj-lt"/>
            <a:buAutoNum type="romanUcPeriod"/>
          </a:pPr>
          <a:r>
            <a:rPr lang="en-US" sz="3600" kern="1200" dirty="0">
              <a:solidFill>
                <a:prstClr val="black">
                  <a:hueOff val="0"/>
                  <a:satOff val="0"/>
                  <a:lumOff val="0"/>
                  <a:alphaOff val="0"/>
                </a:prstClr>
              </a:solidFill>
              <a:latin typeface="+mn-lt"/>
              <a:ea typeface="+mn-ea"/>
              <a:cs typeface="+mn-cs"/>
            </a:rPr>
            <a:t>FFIO’s Strategies for Ensuring Competitiveness</a:t>
          </a:r>
        </a:p>
      </dgm:t>
    </dgm:pt>
    <dgm:pt modelId="{608306C8-017F-4C72-85CF-560154B3C35E}" type="parTrans" cxnId="{44D0D4B2-0237-4BA2-AC2D-E2B26EA434A1}">
      <dgm:prSet/>
      <dgm:spPr/>
      <dgm:t>
        <a:bodyPr/>
        <a:lstStyle/>
        <a:p>
          <a:endParaRPr lang="en-US"/>
        </a:p>
      </dgm:t>
    </dgm:pt>
    <dgm:pt modelId="{D8A0DE42-2919-4BA5-93A0-1037E5ABAC4E}" type="sibTrans" cxnId="{44D0D4B2-0237-4BA2-AC2D-E2B26EA434A1}">
      <dgm:prSet/>
      <dgm:spPr/>
      <dgm:t>
        <a:bodyPr/>
        <a:lstStyle/>
        <a:p>
          <a:endParaRPr lang="en-US"/>
        </a:p>
      </dgm:t>
    </dgm:pt>
    <dgm:pt modelId="{4A50B7C4-B795-466A-A92A-CEEA7AE7A533}">
      <dgm:prSet custT="1"/>
      <dgm:spPr/>
      <dgm:t>
        <a:bodyPr/>
        <a:lstStyle/>
        <a:p>
          <a:pPr marL="0" lvl="0" indent="0" algn="l" defTabSz="1600200" rtl="0">
            <a:lnSpc>
              <a:spcPct val="90000"/>
            </a:lnSpc>
            <a:spcBef>
              <a:spcPct val="0"/>
            </a:spcBef>
            <a:spcAft>
              <a:spcPct val="35000"/>
            </a:spcAft>
            <a:buFont typeface="+mj-lt"/>
            <a:buAutoNum type="romanUcPeriod"/>
          </a:pPr>
          <a:r>
            <a:rPr lang="en-US" sz="3600" kern="1200" dirty="0">
              <a:solidFill>
                <a:prstClr val="black">
                  <a:hueOff val="0"/>
                  <a:satOff val="0"/>
                  <a:lumOff val="0"/>
                  <a:alphaOff val="0"/>
                </a:prstClr>
              </a:solidFill>
              <a:latin typeface="+mn-lt"/>
              <a:ea typeface="+mn-ea"/>
              <a:cs typeface="+mn-cs"/>
            </a:rPr>
            <a:t>Project Focus: Allston Multimodal Project</a:t>
          </a:r>
        </a:p>
        <a:p>
          <a:pPr marL="0" lvl="0" indent="0" algn="l" defTabSz="1600200" rtl="0">
            <a:lnSpc>
              <a:spcPct val="90000"/>
            </a:lnSpc>
            <a:spcBef>
              <a:spcPct val="0"/>
            </a:spcBef>
            <a:spcAft>
              <a:spcPct val="35000"/>
            </a:spcAft>
            <a:buFont typeface="+mj-lt"/>
            <a:buAutoNum type="romanUcPeriod"/>
          </a:pPr>
          <a:endParaRPr lang="en-US" sz="3600" kern="1200" dirty="0">
            <a:solidFill>
              <a:prstClr val="black">
                <a:hueOff val="0"/>
                <a:satOff val="0"/>
                <a:lumOff val="0"/>
                <a:alphaOff val="0"/>
              </a:prstClr>
            </a:solidFill>
            <a:latin typeface="+mn-lt"/>
            <a:ea typeface="+mn-ea"/>
            <a:cs typeface="+mn-cs"/>
          </a:endParaRPr>
        </a:p>
        <a:p>
          <a:pPr marL="0" lvl="0" indent="0" algn="l" defTabSz="1600200" rtl="0">
            <a:lnSpc>
              <a:spcPct val="90000"/>
            </a:lnSpc>
            <a:spcBef>
              <a:spcPct val="0"/>
            </a:spcBef>
            <a:spcAft>
              <a:spcPct val="35000"/>
            </a:spcAft>
            <a:buFont typeface="+mj-lt"/>
            <a:buAutoNum type="romanUcPeriod"/>
          </a:pPr>
          <a:endParaRPr lang="en-US" sz="3600" kern="1200" dirty="0">
            <a:solidFill>
              <a:prstClr val="black">
                <a:hueOff val="0"/>
                <a:satOff val="0"/>
                <a:lumOff val="0"/>
                <a:alphaOff val="0"/>
              </a:prstClr>
            </a:solidFill>
            <a:latin typeface="+mn-lt"/>
            <a:ea typeface="+mn-ea"/>
            <a:cs typeface="+mn-cs"/>
          </a:endParaRPr>
        </a:p>
      </dgm:t>
    </dgm:pt>
    <dgm:pt modelId="{5C96A89C-9963-457A-9893-25637AC7452C}" type="parTrans" cxnId="{E15E38B2-C3D1-460F-ADE5-AF07D20BF2C4}">
      <dgm:prSet/>
      <dgm:spPr/>
      <dgm:t>
        <a:bodyPr/>
        <a:lstStyle/>
        <a:p>
          <a:endParaRPr lang="en-GB"/>
        </a:p>
      </dgm:t>
    </dgm:pt>
    <dgm:pt modelId="{291B88FD-7A17-4437-8F51-75A9461E437C}" type="sibTrans" cxnId="{E15E38B2-C3D1-460F-ADE5-AF07D20BF2C4}">
      <dgm:prSet/>
      <dgm:spPr/>
      <dgm:t>
        <a:bodyPr/>
        <a:lstStyle/>
        <a:p>
          <a:endParaRPr lang="en-GB"/>
        </a:p>
      </dgm:t>
    </dgm:pt>
    <dgm:pt modelId="{5F7411AA-BF88-4BD8-AE7B-13544A6FEDF7}" type="pres">
      <dgm:prSet presAssocID="{098DC64B-4E2D-44E2-9DF7-09484415FC99}" presName="vert0" presStyleCnt="0">
        <dgm:presLayoutVars>
          <dgm:dir/>
          <dgm:animOne val="branch"/>
          <dgm:animLvl val="lvl"/>
        </dgm:presLayoutVars>
      </dgm:prSet>
      <dgm:spPr/>
    </dgm:pt>
    <dgm:pt modelId="{3E561463-13A8-47D0-A801-80626667ADE9}" type="pres">
      <dgm:prSet presAssocID="{A7D33C84-7D67-46F0-8912-D9E4252C7EDE}" presName="thickLine" presStyleLbl="alignNode1" presStyleIdx="0" presStyleCnt="4"/>
      <dgm:spPr/>
    </dgm:pt>
    <dgm:pt modelId="{661DF121-2914-45B8-B27C-53E66D9EFBCD}" type="pres">
      <dgm:prSet presAssocID="{A7D33C84-7D67-46F0-8912-D9E4252C7EDE}" presName="horz1" presStyleCnt="0"/>
      <dgm:spPr/>
    </dgm:pt>
    <dgm:pt modelId="{46245924-9211-4CB2-821B-BCC39C4B6955}" type="pres">
      <dgm:prSet presAssocID="{A7D33C84-7D67-46F0-8912-D9E4252C7EDE}" presName="tx1" presStyleLbl="revTx" presStyleIdx="0" presStyleCnt="4"/>
      <dgm:spPr/>
    </dgm:pt>
    <dgm:pt modelId="{E3517774-03A7-4C97-A0A3-AF07178BF8D1}" type="pres">
      <dgm:prSet presAssocID="{A7D33C84-7D67-46F0-8912-D9E4252C7EDE}" presName="vert1" presStyleCnt="0"/>
      <dgm:spPr/>
    </dgm:pt>
    <dgm:pt modelId="{B96D2A12-D22B-454C-A4DE-0517F157A893}" type="pres">
      <dgm:prSet presAssocID="{B2810EDB-9A72-44F8-A3CB-2A8825F4607A}" presName="thickLine" presStyleLbl="alignNode1" presStyleIdx="1" presStyleCnt="4"/>
      <dgm:spPr/>
    </dgm:pt>
    <dgm:pt modelId="{C690EF61-7BDB-4133-A798-B0C90720F05E}" type="pres">
      <dgm:prSet presAssocID="{B2810EDB-9A72-44F8-A3CB-2A8825F4607A}" presName="horz1" presStyleCnt="0"/>
      <dgm:spPr/>
    </dgm:pt>
    <dgm:pt modelId="{AED454A2-8541-46F7-8DD4-7437E834DFAF}" type="pres">
      <dgm:prSet presAssocID="{B2810EDB-9A72-44F8-A3CB-2A8825F4607A}" presName="tx1" presStyleLbl="revTx" presStyleIdx="1" presStyleCnt="4"/>
      <dgm:spPr/>
    </dgm:pt>
    <dgm:pt modelId="{10868DBD-68B9-47C0-B55F-52531E030BC8}" type="pres">
      <dgm:prSet presAssocID="{B2810EDB-9A72-44F8-A3CB-2A8825F4607A}" presName="vert1" presStyleCnt="0"/>
      <dgm:spPr/>
    </dgm:pt>
    <dgm:pt modelId="{48B47196-27C8-4AAF-BCC6-8FC140A10A64}" type="pres">
      <dgm:prSet presAssocID="{E7C2B22D-C189-4897-801E-1B40AD7C1D15}" presName="thickLine" presStyleLbl="alignNode1" presStyleIdx="2" presStyleCnt="4"/>
      <dgm:spPr/>
    </dgm:pt>
    <dgm:pt modelId="{A43F692A-17CB-4549-B29D-6F4A706F0634}" type="pres">
      <dgm:prSet presAssocID="{E7C2B22D-C189-4897-801E-1B40AD7C1D15}" presName="horz1" presStyleCnt="0"/>
      <dgm:spPr/>
    </dgm:pt>
    <dgm:pt modelId="{805B10C6-3510-4EC1-A5AB-62B6B64F53F5}" type="pres">
      <dgm:prSet presAssocID="{E7C2B22D-C189-4897-801E-1B40AD7C1D15}" presName="tx1" presStyleLbl="revTx" presStyleIdx="2" presStyleCnt="4"/>
      <dgm:spPr/>
    </dgm:pt>
    <dgm:pt modelId="{323A03CF-16A0-4D07-BDC1-D434D9F00693}" type="pres">
      <dgm:prSet presAssocID="{E7C2B22D-C189-4897-801E-1B40AD7C1D15}" presName="vert1" presStyleCnt="0"/>
      <dgm:spPr/>
    </dgm:pt>
    <dgm:pt modelId="{F39F94E5-166F-48D3-B1EE-4EE54A7206E6}" type="pres">
      <dgm:prSet presAssocID="{4A50B7C4-B795-466A-A92A-CEEA7AE7A533}" presName="thickLine" presStyleLbl="alignNode1" presStyleIdx="3" presStyleCnt="4"/>
      <dgm:spPr/>
    </dgm:pt>
    <dgm:pt modelId="{72D39974-C2C6-474B-8D40-2CD99627B26F}" type="pres">
      <dgm:prSet presAssocID="{4A50B7C4-B795-466A-A92A-CEEA7AE7A533}" presName="horz1" presStyleCnt="0"/>
      <dgm:spPr/>
    </dgm:pt>
    <dgm:pt modelId="{6E6C7ED0-550A-4586-94D1-EB239AD7A8A9}" type="pres">
      <dgm:prSet presAssocID="{4A50B7C4-B795-466A-A92A-CEEA7AE7A533}" presName="tx1" presStyleLbl="revTx" presStyleIdx="3" presStyleCnt="4"/>
      <dgm:spPr/>
    </dgm:pt>
    <dgm:pt modelId="{D2F6F0EC-77B5-4650-B812-6BC3B4C692E4}" type="pres">
      <dgm:prSet presAssocID="{4A50B7C4-B795-466A-A92A-CEEA7AE7A533}" presName="vert1" presStyleCnt="0"/>
      <dgm:spPr/>
    </dgm:pt>
  </dgm:ptLst>
  <dgm:cxnLst>
    <dgm:cxn modelId="{551EEA0E-0D9A-45A5-A338-6270002B468F}" srcId="{098DC64B-4E2D-44E2-9DF7-09484415FC99}" destId="{B2810EDB-9A72-44F8-A3CB-2A8825F4607A}" srcOrd="1" destOrd="0" parTransId="{FF8E8F73-A599-4DF5-B3FA-81BF4D105327}" sibTransId="{36CFDA12-AA72-4B35-9F27-5DA9485D97E4}"/>
    <dgm:cxn modelId="{D6D03117-B65D-4458-B2D8-83CAEC6C5EF0}" type="presOf" srcId="{B2810EDB-9A72-44F8-A3CB-2A8825F4607A}" destId="{AED454A2-8541-46F7-8DD4-7437E834DFAF}" srcOrd="0" destOrd="0" presId="urn:microsoft.com/office/officeart/2008/layout/LinedList"/>
    <dgm:cxn modelId="{14C6845E-4A06-45CB-A799-D24BF9CC76A0}" type="presOf" srcId="{E7C2B22D-C189-4897-801E-1B40AD7C1D15}" destId="{805B10C6-3510-4EC1-A5AB-62B6B64F53F5}" srcOrd="0" destOrd="0" presId="urn:microsoft.com/office/officeart/2008/layout/LinedList"/>
    <dgm:cxn modelId="{07F1EA80-A907-47B5-BAF5-313F225B0A67}" srcId="{098DC64B-4E2D-44E2-9DF7-09484415FC99}" destId="{A7D33C84-7D67-46F0-8912-D9E4252C7EDE}" srcOrd="0" destOrd="0" parTransId="{8BA91B17-3750-434E-8342-D3EF4C7EF856}" sibTransId="{66F52283-3F86-40B7-A353-2FA007485BE5}"/>
    <dgm:cxn modelId="{E15E38B2-C3D1-460F-ADE5-AF07D20BF2C4}" srcId="{098DC64B-4E2D-44E2-9DF7-09484415FC99}" destId="{4A50B7C4-B795-466A-A92A-CEEA7AE7A533}" srcOrd="3" destOrd="0" parTransId="{5C96A89C-9963-457A-9893-25637AC7452C}" sibTransId="{291B88FD-7A17-4437-8F51-75A9461E437C}"/>
    <dgm:cxn modelId="{44D0D4B2-0237-4BA2-AC2D-E2B26EA434A1}" srcId="{098DC64B-4E2D-44E2-9DF7-09484415FC99}" destId="{E7C2B22D-C189-4897-801E-1B40AD7C1D15}" srcOrd="2" destOrd="0" parTransId="{608306C8-017F-4C72-85CF-560154B3C35E}" sibTransId="{D8A0DE42-2919-4BA5-93A0-1037E5ABAC4E}"/>
    <dgm:cxn modelId="{EBD4CCC5-F445-4509-9E96-CBF1FDAC623A}" type="presOf" srcId="{098DC64B-4E2D-44E2-9DF7-09484415FC99}" destId="{5F7411AA-BF88-4BD8-AE7B-13544A6FEDF7}" srcOrd="0" destOrd="0" presId="urn:microsoft.com/office/officeart/2008/layout/LinedList"/>
    <dgm:cxn modelId="{6FA658DB-34C2-4C5F-B9F2-EE9688C11D8A}" type="presOf" srcId="{4A50B7C4-B795-466A-A92A-CEEA7AE7A533}" destId="{6E6C7ED0-550A-4586-94D1-EB239AD7A8A9}" srcOrd="0" destOrd="0" presId="urn:microsoft.com/office/officeart/2008/layout/LinedList"/>
    <dgm:cxn modelId="{5F2385F4-DC85-45B8-8E53-12D686598646}" type="presOf" srcId="{A7D33C84-7D67-46F0-8912-D9E4252C7EDE}" destId="{46245924-9211-4CB2-821B-BCC39C4B6955}" srcOrd="0" destOrd="0" presId="urn:microsoft.com/office/officeart/2008/layout/LinedList"/>
    <dgm:cxn modelId="{4E60F68B-9C9E-471E-8CF3-86E8C7BBFFB4}" type="presParOf" srcId="{5F7411AA-BF88-4BD8-AE7B-13544A6FEDF7}" destId="{3E561463-13A8-47D0-A801-80626667ADE9}" srcOrd="0" destOrd="0" presId="urn:microsoft.com/office/officeart/2008/layout/LinedList"/>
    <dgm:cxn modelId="{66DCEA1E-3842-4634-8AC4-BE13A5A22E86}" type="presParOf" srcId="{5F7411AA-BF88-4BD8-AE7B-13544A6FEDF7}" destId="{661DF121-2914-45B8-B27C-53E66D9EFBCD}" srcOrd="1" destOrd="0" presId="urn:microsoft.com/office/officeart/2008/layout/LinedList"/>
    <dgm:cxn modelId="{832F3F88-831B-4983-A6DA-A676629C39F1}" type="presParOf" srcId="{661DF121-2914-45B8-B27C-53E66D9EFBCD}" destId="{46245924-9211-4CB2-821B-BCC39C4B6955}" srcOrd="0" destOrd="0" presId="urn:microsoft.com/office/officeart/2008/layout/LinedList"/>
    <dgm:cxn modelId="{EBBDA539-FD5C-4CAA-B810-AED7FF1B2319}" type="presParOf" srcId="{661DF121-2914-45B8-B27C-53E66D9EFBCD}" destId="{E3517774-03A7-4C97-A0A3-AF07178BF8D1}" srcOrd="1" destOrd="0" presId="urn:microsoft.com/office/officeart/2008/layout/LinedList"/>
    <dgm:cxn modelId="{3362E3BA-5D77-4885-9CEA-907479D6E6C7}" type="presParOf" srcId="{5F7411AA-BF88-4BD8-AE7B-13544A6FEDF7}" destId="{B96D2A12-D22B-454C-A4DE-0517F157A893}" srcOrd="2" destOrd="0" presId="urn:microsoft.com/office/officeart/2008/layout/LinedList"/>
    <dgm:cxn modelId="{4F869B78-595D-4C37-9ECD-B73985B92C8E}" type="presParOf" srcId="{5F7411AA-BF88-4BD8-AE7B-13544A6FEDF7}" destId="{C690EF61-7BDB-4133-A798-B0C90720F05E}" srcOrd="3" destOrd="0" presId="urn:microsoft.com/office/officeart/2008/layout/LinedList"/>
    <dgm:cxn modelId="{FD823279-4AB4-4407-98D8-133705000231}" type="presParOf" srcId="{C690EF61-7BDB-4133-A798-B0C90720F05E}" destId="{AED454A2-8541-46F7-8DD4-7437E834DFAF}" srcOrd="0" destOrd="0" presId="urn:microsoft.com/office/officeart/2008/layout/LinedList"/>
    <dgm:cxn modelId="{D44BA71E-1B97-4EC7-9F6C-BA54CC8DD28F}" type="presParOf" srcId="{C690EF61-7BDB-4133-A798-B0C90720F05E}" destId="{10868DBD-68B9-47C0-B55F-52531E030BC8}" srcOrd="1" destOrd="0" presId="urn:microsoft.com/office/officeart/2008/layout/LinedList"/>
    <dgm:cxn modelId="{C25FA829-EDC2-4D5C-8EB4-07A32980AB54}" type="presParOf" srcId="{5F7411AA-BF88-4BD8-AE7B-13544A6FEDF7}" destId="{48B47196-27C8-4AAF-BCC6-8FC140A10A64}" srcOrd="4" destOrd="0" presId="urn:microsoft.com/office/officeart/2008/layout/LinedList"/>
    <dgm:cxn modelId="{A62ADDF1-A642-442E-B6CE-0493AC9FBAF1}" type="presParOf" srcId="{5F7411AA-BF88-4BD8-AE7B-13544A6FEDF7}" destId="{A43F692A-17CB-4549-B29D-6F4A706F0634}" srcOrd="5" destOrd="0" presId="urn:microsoft.com/office/officeart/2008/layout/LinedList"/>
    <dgm:cxn modelId="{04CC3CA6-49CD-48B1-B521-CCDA9AF9D06D}" type="presParOf" srcId="{A43F692A-17CB-4549-B29D-6F4A706F0634}" destId="{805B10C6-3510-4EC1-A5AB-62B6B64F53F5}" srcOrd="0" destOrd="0" presId="urn:microsoft.com/office/officeart/2008/layout/LinedList"/>
    <dgm:cxn modelId="{E45404FE-7DF2-4AE5-AB18-8A4EC7F53584}" type="presParOf" srcId="{A43F692A-17CB-4549-B29D-6F4A706F0634}" destId="{323A03CF-16A0-4D07-BDC1-D434D9F00693}" srcOrd="1" destOrd="0" presId="urn:microsoft.com/office/officeart/2008/layout/LinedList"/>
    <dgm:cxn modelId="{8F8DA2CE-BFC8-4925-8C40-DC33A2DEE961}" type="presParOf" srcId="{5F7411AA-BF88-4BD8-AE7B-13544A6FEDF7}" destId="{F39F94E5-166F-48D3-B1EE-4EE54A7206E6}" srcOrd="6" destOrd="0" presId="urn:microsoft.com/office/officeart/2008/layout/LinedList"/>
    <dgm:cxn modelId="{34D3D774-3FF2-4A8D-9638-6F54153A2D93}" type="presParOf" srcId="{5F7411AA-BF88-4BD8-AE7B-13544A6FEDF7}" destId="{72D39974-C2C6-474B-8D40-2CD99627B26F}" srcOrd="7" destOrd="0" presId="urn:microsoft.com/office/officeart/2008/layout/LinedList"/>
    <dgm:cxn modelId="{F9BD41B3-12BC-459E-ABE7-91BC1EB9662F}" type="presParOf" srcId="{72D39974-C2C6-474B-8D40-2CD99627B26F}" destId="{6E6C7ED0-550A-4586-94D1-EB239AD7A8A9}" srcOrd="0" destOrd="0" presId="urn:microsoft.com/office/officeart/2008/layout/LinedList"/>
    <dgm:cxn modelId="{B8A39408-5E7B-4516-8973-48DF8B266886}" type="presParOf" srcId="{72D39974-C2C6-474B-8D40-2CD99627B26F}" destId="{D2F6F0EC-77B5-4650-B812-6BC3B4C692E4}" srcOrd="1"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E43AC7-173D-456B-AA05-BC2BCC031A9F}"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D310FC57-F43C-4E2C-9B6D-9DC71D95C4F8}">
      <dgm:prSet custT="1"/>
      <dgm:spPr/>
      <dgm:t>
        <a:bodyPr/>
        <a:lstStyle/>
        <a:p>
          <a:pPr>
            <a:lnSpc>
              <a:spcPct val="100000"/>
            </a:lnSpc>
          </a:pPr>
          <a:r>
            <a:rPr lang="en-US" sz="1600" b="1" i="0"/>
            <a:t>Leading bi-weekly meetings of the interagency Advisory Council on Federal Funds and Infrastructure</a:t>
          </a:r>
          <a:endParaRPr lang="en-US" sz="1600" b="1"/>
        </a:p>
      </dgm:t>
    </dgm:pt>
    <dgm:pt modelId="{0E5D1605-1CFC-43E5-9494-6059296171F1}" type="parTrans" cxnId="{C6D3471D-2A4F-4F81-B30F-AEA358F90A79}">
      <dgm:prSet/>
      <dgm:spPr/>
      <dgm:t>
        <a:bodyPr/>
        <a:lstStyle/>
        <a:p>
          <a:endParaRPr lang="en-US"/>
        </a:p>
      </dgm:t>
    </dgm:pt>
    <dgm:pt modelId="{BBD1174B-380A-46A3-BB91-AF4D4C8C829A}" type="sibTrans" cxnId="{C6D3471D-2A4F-4F81-B30F-AEA358F90A79}">
      <dgm:prSet/>
      <dgm:spPr/>
      <dgm:t>
        <a:bodyPr/>
        <a:lstStyle/>
        <a:p>
          <a:endParaRPr lang="en-US"/>
        </a:p>
      </dgm:t>
    </dgm:pt>
    <dgm:pt modelId="{645D015E-3619-4B81-950F-1C544B660094}">
      <dgm:prSet custT="1"/>
      <dgm:spPr/>
      <dgm:t>
        <a:bodyPr/>
        <a:lstStyle/>
        <a:p>
          <a:pPr>
            <a:lnSpc>
              <a:spcPct val="100000"/>
            </a:lnSpc>
          </a:pPr>
          <a:r>
            <a:rPr lang="en-US" sz="1600" b="1" i="0"/>
            <a:t>Identifying and tracking key federal funding opportunities </a:t>
          </a:r>
          <a:r>
            <a:rPr lang="en-US" sz="1600" b="1"/>
            <a:t>and Massachusetts applications through the State Clearinghouse</a:t>
          </a:r>
          <a:endParaRPr lang="en-US" sz="1600"/>
        </a:p>
      </dgm:t>
    </dgm:pt>
    <dgm:pt modelId="{F3311785-0947-4D54-8B94-64CA474DAD91}" type="parTrans" cxnId="{D1C6AA23-A736-4E26-8749-FDCC29458FB9}">
      <dgm:prSet/>
      <dgm:spPr/>
      <dgm:t>
        <a:bodyPr/>
        <a:lstStyle/>
        <a:p>
          <a:endParaRPr lang="en-US"/>
        </a:p>
      </dgm:t>
    </dgm:pt>
    <dgm:pt modelId="{B48388A5-17F9-4520-9B6E-350D82B6B47E}" type="sibTrans" cxnId="{D1C6AA23-A736-4E26-8749-FDCC29458FB9}">
      <dgm:prSet/>
      <dgm:spPr/>
      <dgm:t>
        <a:bodyPr/>
        <a:lstStyle/>
        <a:p>
          <a:endParaRPr lang="en-US"/>
        </a:p>
      </dgm:t>
    </dgm:pt>
    <dgm:pt modelId="{86F5EE8F-A5A3-4CF1-9857-3D90C2A6977D}">
      <dgm:prSet custT="1"/>
      <dgm:spPr/>
      <dgm:t>
        <a:bodyPr/>
        <a:lstStyle/>
        <a:p>
          <a:pPr>
            <a:lnSpc>
              <a:spcPct val="100000"/>
            </a:lnSpc>
          </a:pPr>
          <a:r>
            <a:rPr lang="en-US" sz="1600" b="1"/>
            <a:t>Implementing the Federal Match legislation (</a:t>
          </a:r>
          <a:r>
            <a:rPr lang="en-US" sz="1600" b="1" i="1"/>
            <a:t>Chapter 214 of the Acts of 2024)</a:t>
          </a:r>
          <a:endParaRPr lang="en-US" sz="1600" b="1"/>
        </a:p>
      </dgm:t>
    </dgm:pt>
    <dgm:pt modelId="{63B5BC1E-BA1A-43C9-AD52-9D99D747CC5F}" type="parTrans" cxnId="{55D36FA9-47B9-4FB7-9D87-815130DE10B4}">
      <dgm:prSet/>
      <dgm:spPr/>
      <dgm:t>
        <a:bodyPr/>
        <a:lstStyle/>
        <a:p>
          <a:endParaRPr lang="en-US"/>
        </a:p>
      </dgm:t>
    </dgm:pt>
    <dgm:pt modelId="{38F48130-8FE7-484D-8F12-95980384125D}" type="sibTrans" cxnId="{55D36FA9-47B9-4FB7-9D87-815130DE10B4}">
      <dgm:prSet/>
      <dgm:spPr/>
      <dgm:t>
        <a:bodyPr/>
        <a:lstStyle/>
        <a:p>
          <a:endParaRPr lang="en-US"/>
        </a:p>
      </dgm:t>
    </dgm:pt>
    <dgm:pt modelId="{7CE94679-2E84-4BAD-AB15-EB3F167E6A46}">
      <dgm:prSet custT="1"/>
      <dgm:spPr/>
      <dgm:t>
        <a:bodyPr/>
        <a:lstStyle/>
        <a:p>
          <a:pPr>
            <a:lnSpc>
              <a:spcPct val="100000"/>
            </a:lnSpc>
          </a:pPr>
          <a:r>
            <a:rPr lang="en-US" sz="1600" b="1"/>
            <a:t>Leading the Massachusetts Federal Funds Partnership and other meetings to support local governments in their applications for federal funding</a:t>
          </a:r>
        </a:p>
      </dgm:t>
    </dgm:pt>
    <dgm:pt modelId="{700FB485-963E-4EFD-900F-1742F5BCE2D2}" type="parTrans" cxnId="{340918A1-2A97-4CC7-9C47-1772ADE22805}">
      <dgm:prSet/>
      <dgm:spPr/>
      <dgm:t>
        <a:bodyPr/>
        <a:lstStyle/>
        <a:p>
          <a:endParaRPr lang="en-US"/>
        </a:p>
      </dgm:t>
    </dgm:pt>
    <dgm:pt modelId="{39C7C336-98CB-4C86-AC99-9EAF4D4F2ED6}" type="sibTrans" cxnId="{340918A1-2A97-4CC7-9C47-1772ADE22805}">
      <dgm:prSet/>
      <dgm:spPr/>
      <dgm:t>
        <a:bodyPr/>
        <a:lstStyle/>
        <a:p>
          <a:endParaRPr lang="en-US"/>
        </a:p>
      </dgm:t>
    </dgm:pt>
    <dgm:pt modelId="{3CD48AE7-D4F6-4B3D-B68E-EF7140BC6B9E}" type="pres">
      <dgm:prSet presAssocID="{31E43AC7-173D-456B-AA05-BC2BCC031A9F}" presName="root" presStyleCnt="0">
        <dgm:presLayoutVars>
          <dgm:dir/>
          <dgm:resizeHandles val="exact"/>
        </dgm:presLayoutVars>
      </dgm:prSet>
      <dgm:spPr/>
    </dgm:pt>
    <dgm:pt modelId="{0DD012EC-9339-4144-9F8C-DEE7EE016DE0}" type="pres">
      <dgm:prSet presAssocID="{645D015E-3619-4B81-950F-1C544B660094}" presName="compNode" presStyleCnt="0"/>
      <dgm:spPr/>
    </dgm:pt>
    <dgm:pt modelId="{E14C0CFE-CB0A-44B3-89C8-D749A9E1B18C}" type="pres">
      <dgm:prSet presAssocID="{645D015E-3619-4B81-950F-1C544B660094}" presName="bgRect" presStyleLbl="bgShp" presStyleIdx="0" presStyleCnt="4" custLinFactNeighborX="3970" custLinFactNeighborY="-811"/>
      <dgm:spPr/>
    </dgm:pt>
    <dgm:pt modelId="{D88E8319-B6D5-49D3-B540-92B6D9A64BEC}" type="pres">
      <dgm:prSet presAssocID="{645D015E-3619-4B81-950F-1C544B660094}"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box Checked with solid fill"/>
        </a:ext>
      </dgm:extLst>
    </dgm:pt>
    <dgm:pt modelId="{41321DAC-A7EE-4AE2-9DC7-D1923CA5030E}" type="pres">
      <dgm:prSet presAssocID="{645D015E-3619-4B81-950F-1C544B660094}" presName="spaceRect" presStyleCnt="0"/>
      <dgm:spPr/>
    </dgm:pt>
    <dgm:pt modelId="{3A883FDD-2842-4E49-87E1-009417EEDE74}" type="pres">
      <dgm:prSet presAssocID="{645D015E-3619-4B81-950F-1C544B660094}" presName="parTx" presStyleLbl="revTx" presStyleIdx="0" presStyleCnt="4">
        <dgm:presLayoutVars>
          <dgm:chMax val="0"/>
          <dgm:chPref val="0"/>
        </dgm:presLayoutVars>
      </dgm:prSet>
      <dgm:spPr/>
    </dgm:pt>
    <dgm:pt modelId="{92DE347A-F440-4EA0-A19A-15ED32058C42}" type="pres">
      <dgm:prSet presAssocID="{B48388A5-17F9-4520-9B6E-350D82B6B47E}" presName="sibTrans" presStyleCnt="0"/>
      <dgm:spPr/>
    </dgm:pt>
    <dgm:pt modelId="{29446BF5-4985-418C-942C-C8627D199049}" type="pres">
      <dgm:prSet presAssocID="{D310FC57-F43C-4E2C-9B6D-9DC71D95C4F8}" presName="compNode" presStyleCnt="0"/>
      <dgm:spPr/>
    </dgm:pt>
    <dgm:pt modelId="{B8DB16D8-4226-454D-9A09-BB040DD2E36C}" type="pres">
      <dgm:prSet presAssocID="{D310FC57-F43C-4E2C-9B6D-9DC71D95C4F8}" presName="bgRect" presStyleLbl="bgShp" presStyleIdx="1" presStyleCnt="4"/>
      <dgm:spPr/>
    </dgm:pt>
    <dgm:pt modelId="{564C5C8F-9437-4747-BE47-8A248FCF0411}" type="pres">
      <dgm:prSet presAssocID="{D310FC57-F43C-4E2C-9B6D-9DC71D95C4F8}"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with solid fill"/>
        </a:ext>
      </dgm:extLst>
    </dgm:pt>
    <dgm:pt modelId="{60D04270-229F-4889-92E8-7F83735A2BF9}" type="pres">
      <dgm:prSet presAssocID="{D310FC57-F43C-4E2C-9B6D-9DC71D95C4F8}" presName="spaceRect" presStyleCnt="0"/>
      <dgm:spPr/>
    </dgm:pt>
    <dgm:pt modelId="{B1CCC648-1946-4024-BC72-12F157BF1C01}" type="pres">
      <dgm:prSet presAssocID="{D310FC57-F43C-4E2C-9B6D-9DC71D95C4F8}" presName="parTx" presStyleLbl="revTx" presStyleIdx="1" presStyleCnt="4">
        <dgm:presLayoutVars>
          <dgm:chMax val="0"/>
          <dgm:chPref val="0"/>
        </dgm:presLayoutVars>
      </dgm:prSet>
      <dgm:spPr/>
    </dgm:pt>
    <dgm:pt modelId="{BD33376C-DA5C-4321-B816-593B71FAA488}" type="pres">
      <dgm:prSet presAssocID="{BBD1174B-380A-46A3-BB91-AF4D4C8C829A}" presName="sibTrans" presStyleCnt="0"/>
      <dgm:spPr/>
    </dgm:pt>
    <dgm:pt modelId="{9A6D2DFC-8CC3-4C6A-A413-0209664C7083}" type="pres">
      <dgm:prSet presAssocID="{7CE94679-2E84-4BAD-AB15-EB3F167E6A46}" presName="compNode" presStyleCnt="0"/>
      <dgm:spPr/>
    </dgm:pt>
    <dgm:pt modelId="{2424DD3C-D8C4-4E3B-93BA-991BC7EAB6F2}" type="pres">
      <dgm:prSet presAssocID="{7CE94679-2E84-4BAD-AB15-EB3F167E6A46}" presName="bgRect" presStyleLbl="bgShp" presStyleIdx="2" presStyleCnt="4"/>
      <dgm:spPr/>
    </dgm:pt>
    <dgm:pt modelId="{ECFEB0C4-30B7-4493-ACBB-424B6B9D5B6B}" type="pres">
      <dgm:prSet presAssocID="{7CE94679-2E84-4BAD-AB15-EB3F167E6A46}" presName="iconRect" presStyleLbl="node1" presStyleIdx="2" presStyleCnt="4"/>
      <dgm:spPr>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choolhouse outline"/>
        </a:ext>
      </dgm:extLst>
    </dgm:pt>
    <dgm:pt modelId="{F5A4BBDE-3BD9-4EDA-83E6-3ABB08F7BAE0}" type="pres">
      <dgm:prSet presAssocID="{7CE94679-2E84-4BAD-AB15-EB3F167E6A46}" presName="spaceRect" presStyleCnt="0"/>
      <dgm:spPr/>
    </dgm:pt>
    <dgm:pt modelId="{A099E753-F35B-4A24-8E1C-78892999158A}" type="pres">
      <dgm:prSet presAssocID="{7CE94679-2E84-4BAD-AB15-EB3F167E6A46}" presName="parTx" presStyleLbl="revTx" presStyleIdx="2" presStyleCnt="4">
        <dgm:presLayoutVars>
          <dgm:chMax val="0"/>
          <dgm:chPref val="0"/>
        </dgm:presLayoutVars>
      </dgm:prSet>
      <dgm:spPr/>
    </dgm:pt>
    <dgm:pt modelId="{4F3A3109-73D7-4A54-B6B0-184DFE516A95}" type="pres">
      <dgm:prSet presAssocID="{39C7C336-98CB-4C86-AC99-9EAF4D4F2ED6}" presName="sibTrans" presStyleCnt="0"/>
      <dgm:spPr/>
    </dgm:pt>
    <dgm:pt modelId="{E4A0CB12-F2B6-4A62-82C8-3506427C9164}" type="pres">
      <dgm:prSet presAssocID="{86F5EE8F-A5A3-4CF1-9857-3D90C2A6977D}" presName="compNode" presStyleCnt="0"/>
      <dgm:spPr/>
    </dgm:pt>
    <dgm:pt modelId="{58117011-8D5D-4747-80CD-8D2788FAFE28}" type="pres">
      <dgm:prSet presAssocID="{86F5EE8F-A5A3-4CF1-9857-3D90C2A6977D}" presName="bgRect" presStyleLbl="bgShp" presStyleIdx="3" presStyleCnt="4"/>
      <dgm:spPr/>
    </dgm:pt>
    <dgm:pt modelId="{1C7B136C-B410-4D35-8B00-A9E44608E48D}" type="pres">
      <dgm:prSet presAssocID="{86F5EE8F-A5A3-4CF1-9857-3D90C2A6977D}" presName="iconRect" presStyleLbl="node1" presStyleIdx="3" presStyleCnt="4"/>
      <dgm:spPr>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Quill outline"/>
        </a:ext>
      </dgm:extLst>
    </dgm:pt>
    <dgm:pt modelId="{A148DB27-A5C7-43D0-8D46-434DE35488A9}" type="pres">
      <dgm:prSet presAssocID="{86F5EE8F-A5A3-4CF1-9857-3D90C2A6977D}" presName="spaceRect" presStyleCnt="0"/>
      <dgm:spPr/>
    </dgm:pt>
    <dgm:pt modelId="{7EC0067D-B60D-46D0-8AC8-C58B64D277FA}" type="pres">
      <dgm:prSet presAssocID="{86F5EE8F-A5A3-4CF1-9857-3D90C2A6977D}" presName="parTx" presStyleLbl="revTx" presStyleIdx="3" presStyleCnt="4">
        <dgm:presLayoutVars>
          <dgm:chMax val="0"/>
          <dgm:chPref val="0"/>
        </dgm:presLayoutVars>
      </dgm:prSet>
      <dgm:spPr/>
    </dgm:pt>
  </dgm:ptLst>
  <dgm:cxnLst>
    <dgm:cxn modelId="{C6D3471D-2A4F-4F81-B30F-AEA358F90A79}" srcId="{31E43AC7-173D-456B-AA05-BC2BCC031A9F}" destId="{D310FC57-F43C-4E2C-9B6D-9DC71D95C4F8}" srcOrd="1" destOrd="0" parTransId="{0E5D1605-1CFC-43E5-9494-6059296171F1}" sibTransId="{BBD1174B-380A-46A3-BB91-AF4D4C8C829A}"/>
    <dgm:cxn modelId="{D1C6AA23-A736-4E26-8749-FDCC29458FB9}" srcId="{31E43AC7-173D-456B-AA05-BC2BCC031A9F}" destId="{645D015E-3619-4B81-950F-1C544B660094}" srcOrd="0" destOrd="0" parTransId="{F3311785-0947-4D54-8B94-64CA474DAD91}" sibTransId="{B48388A5-17F9-4520-9B6E-350D82B6B47E}"/>
    <dgm:cxn modelId="{340918A1-2A97-4CC7-9C47-1772ADE22805}" srcId="{31E43AC7-173D-456B-AA05-BC2BCC031A9F}" destId="{7CE94679-2E84-4BAD-AB15-EB3F167E6A46}" srcOrd="2" destOrd="0" parTransId="{700FB485-963E-4EFD-900F-1742F5BCE2D2}" sibTransId="{39C7C336-98CB-4C86-AC99-9EAF4D4F2ED6}"/>
    <dgm:cxn modelId="{55D36FA9-47B9-4FB7-9D87-815130DE10B4}" srcId="{31E43AC7-173D-456B-AA05-BC2BCC031A9F}" destId="{86F5EE8F-A5A3-4CF1-9857-3D90C2A6977D}" srcOrd="3" destOrd="0" parTransId="{63B5BC1E-BA1A-43C9-AD52-9D99D747CC5F}" sibTransId="{38F48130-8FE7-484D-8F12-95980384125D}"/>
    <dgm:cxn modelId="{D6DF42BC-0B6A-415A-BDC0-214F045B98F6}" type="presOf" srcId="{D310FC57-F43C-4E2C-9B6D-9DC71D95C4F8}" destId="{B1CCC648-1946-4024-BC72-12F157BF1C01}" srcOrd="0" destOrd="0" presId="urn:microsoft.com/office/officeart/2018/2/layout/IconVerticalSolidList"/>
    <dgm:cxn modelId="{AF67EFBF-6BFE-4EFE-8380-70A82874A60D}" type="presOf" srcId="{86F5EE8F-A5A3-4CF1-9857-3D90C2A6977D}" destId="{7EC0067D-B60D-46D0-8AC8-C58B64D277FA}" srcOrd="0" destOrd="0" presId="urn:microsoft.com/office/officeart/2018/2/layout/IconVerticalSolidList"/>
    <dgm:cxn modelId="{FC9A30D0-0277-4B30-BF3C-F7D6E0E606DC}" type="presOf" srcId="{7CE94679-2E84-4BAD-AB15-EB3F167E6A46}" destId="{A099E753-F35B-4A24-8E1C-78892999158A}" srcOrd="0" destOrd="0" presId="urn:microsoft.com/office/officeart/2018/2/layout/IconVerticalSolidList"/>
    <dgm:cxn modelId="{36A9EDEC-8BFB-4FEE-B45F-E388B957A32C}" type="presOf" srcId="{31E43AC7-173D-456B-AA05-BC2BCC031A9F}" destId="{3CD48AE7-D4F6-4B3D-B68E-EF7140BC6B9E}" srcOrd="0" destOrd="0" presId="urn:microsoft.com/office/officeart/2018/2/layout/IconVerticalSolidList"/>
    <dgm:cxn modelId="{8844BFFD-83B2-4166-B6F9-BA7BB7E98FDE}" type="presOf" srcId="{645D015E-3619-4B81-950F-1C544B660094}" destId="{3A883FDD-2842-4E49-87E1-009417EEDE74}" srcOrd="0" destOrd="0" presId="urn:microsoft.com/office/officeart/2018/2/layout/IconVerticalSolidList"/>
    <dgm:cxn modelId="{70568680-A80E-48E6-A060-5DD1652937DA}" type="presParOf" srcId="{3CD48AE7-D4F6-4B3D-B68E-EF7140BC6B9E}" destId="{0DD012EC-9339-4144-9F8C-DEE7EE016DE0}" srcOrd="0" destOrd="0" presId="urn:microsoft.com/office/officeart/2018/2/layout/IconVerticalSolidList"/>
    <dgm:cxn modelId="{F19B7555-756D-441D-B1C2-9D35E0AFA59E}" type="presParOf" srcId="{0DD012EC-9339-4144-9F8C-DEE7EE016DE0}" destId="{E14C0CFE-CB0A-44B3-89C8-D749A9E1B18C}" srcOrd="0" destOrd="0" presId="urn:microsoft.com/office/officeart/2018/2/layout/IconVerticalSolidList"/>
    <dgm:cxn modelId="{C5CF8725-7AD5-49DB-8398-E15B46EBA9B4}" type="presParOf" srcId="{0DD012EC-9339-4144-9F8C-DEE7EE016DE0}" destId="{D88E8319-B6D5-49D3-B540-92B6D9A64BEC}" srcOrd="1" destOrd="0" presId="urn:microsoft.com/office/officeart/2018/2/layout/IconVerticalSolidList"/>
    <dgm:cxn modelId="{72384A35-C31A-458E-A781-1964880AD0CD}" type="presParOf" srcId="{0DD012EC-9339-4144-9F8C-DEE7EE016DE0}" destId="{41321DAC-A7EE-4AE2-9DC7-D1923CA5030E}" srcOrd="2" destOrd="0" presId="urn:microsoft.com/office/officeart/2018/2/layout/IconVerticalSolidList"/>
    <dgm:cxn modelId="{09DB93C8-2F49-44B0-B784-394F1B988826}" type="presParOf" srcId="{0DD012EC-9339-4144-9F8C-DEE7EE016DE0}" destId="{3A883FDD-2842-4E49-87E1-009417EEDE74}" srcOrd="3" destOrd="0" presId="urn:microsoft.com/office/officeart/2018/2/layout/IconVerticalSolidList"/>
    <dgm:cxn modelId="{FCA3B1F4-152B-4150-8783-9D0F7E599D22}" type="presParOf" srcId="{3CD48AE7-D4F6-4B3D-B68E-EF7140BC6B9E}" destId="{92DE347A-F440-4EA0-A19A-15ED32058C42}" srcOrd="1" destOrd="0" presId="urn:microsoft.com/office/officeart/2018/2/layout/IconVerticalSolidList"/>
    <dgm:cxn modelId="{F2FAA34D-227A-4BA4-ACC3-8B03188BB10A}" type="presParOf" srcId="{3CD48AE7-D4F6-4B3D-B68E-EF7140BC6B9E}" destId="{29446BF5-4985-418C-942C-C8627D199049}" srcOrd="2" destOrd="0" presId="urn:microsoft.com/office/officeart/2018/2/layout/IconVerticalSolidList"/>
    <dgm:cxn modelId="{8F12B5E2-909C-43E5-BC75-1966BE120741}" type="presParOf" srcId="{29446BF5-4985-418C-942C-C8627D199049}" destId="{B8DB16D8-4226-454D-9A09-BB040DD2E36C}" srcOrd="0" destOrd="0" presId="urn:microsoft.com/office/officeart/2018/2/layout/IconVerticalSolidList"/>
    <dgm:cxn modelId="{765D216D-A876-4673-8477-E0E31112D287}" type="presParOf" srcId="{29446BF5-4985-418C-942C-C8627D199049}" destId="{564C5C8F-9437-4747-BE47-8A248FCF0411}" srcOrd="1" destOrd="0" presId="urn:microsoft.com/office/officeart/2018/2/layout/IconVerticalSolidList"/>
    <dgm:cxn modelId="{5475EF24-B6BA-4D8A-A896-79C2B8F639A8}" type="presParOf" srcId="{29446BF5-4985-418C-942C-C8627D199049}" destId="{60D04270-229F-4889-92E8-7F83735A2BF9}" srcOrd="2" destOrd="0" presId="urn:microsoft.com/office/officeart/2018/2/layout/IconVerticalSolidList"/>
    <dgm:cxn modelId="{AE8781F8-0ECE-47C1-88A2-B13528B7587F}" type="presParOf" srcId="{29446BF5-4985-418C-942C-C8627D199049}" destId="{B1CCC648-1946-4024-BC72-12F157BF1C01}" srcOrd="3" destOrd="0" presId="urn:microsoft.com/office/officeart/2018/2/layout/IconVerticalSolidList"/>
    <dgm:cxn modelId="{6F588869-7D95-4E85-A456-B969E5BDA8ED}" type="presParOf" srcId="{3CD48AE7-D4F6-4B3D-B68E-EF7140BC6B9E}" destId="{BD33376C-DA5C-4321-B816-593B71FAA488}" srcOrd="3" destOrd="0" presId="urn:microsoft.com/office/officeart/2018/2/layout/IconVerticalSolidList"/>
    <dgm:cxn modelId="{4F79792D-4E96-407D-B990-72C4F2D0CA15}" type="presParOf" srcId="{3CD48AE7-D4F6-4B3D-B68E-EF7140BC6B9E}" destId="{9A6D2DFC-8CC3-4C6A-A413-0209664C7083}" srcOrd="4" destOrd="0" presId="urn:microsoft.com/office/officeart/2018/2/layout/IconVerticalSolidList"/>
    <dgm:cxn modelId="{D5FC8A05-7D49-47B0-A9A7-445AE7B3027D}" type="presParOf" srcId="{9A6D2DFC-8CC3-4C6A-A413-0209664C7083}" destId="{2424DD3C-D8C4-4E3B-93BA-991BC7EAB6F2}" srcOrd="0" destOrd="0" presId="urn:microsoft.com/office/officeart/2018/2/layout/IconVerticalSolidList"/>
    <dgm:cxn modelId="{424C05F8-8178-458A-87B6-239410DC0B2F}" type="presParOf" srcId="{9A6D2DFC-8CC3-4C6A-A413-0209664C7083}" destId="{ECFEB0C4-30B7-4493-ACBB-424B6B9D5B6B}" srcOrd="1" destOrd="0" presId="urn:microsoft.com/office/officeart/2018/2/layout/IconVerticalSolidList"/>
    <dgm:cxn modelId="{7E9060A0-B899-4230-8D01-C031D8F9B2D6}" type="presParOf" srcId="{9A6D2DFC-8CC3-4C6A-A413-0209664C7083}" destId="{F5A4BBDE-3BD9-4EDA-83E6-3ABB08F7BAE0}" srcOrd="2" destOrd="0" presId="urn:microsoft.com/office/officeart/2018/2/layout/IconVerticalSolidList"/>
    <dgm:cxn modelId="{E88A379D-D8BD-40A5-9491-DAABF0A5C954}" type="presParOf" srcId="{9A6D2DFC-8CC3-4C6A-A413-0209664C7083}" destId="{A099E753-F35B-4A24-8E1C-78892999158A}" srcOrd="3" destOrd="0" presId="urn:microsoft.com/office/officeart/2018/2/layout/IconVerticalSolidList"/>
    <dgm:cxn modelId="{CE0E94EB-3E22-43C6-86CA-6D8A4FA5AFDF}" type="presParOf" srcId="{3CD48AE7-D4F6-4B3D-B68E-EF7140BC6B9E}" destId="{4F3A3109-73D7-4A54-B6B0-184DFE516A95}" srcOrd="5" destOrd="0" presId="urn:microsoft.com/office/officeart/2018/2/layout/IconVerticalSolidList"/>
    <dgm:cxn modelId="{C0AEA2AA-5B5F-417A-9292-7218A372FE04}" type="presParOf" srcId="{3CD48AE7-D4F6-4B3D-B68E-EF7140BC6B9E}" destId="{E4A0CB12-F2B6-4A62-82C8-3506427C9164}" srcOrd="6" destOrd="0" presId="urn:microsoft.com/office/officeart/2018/2/layout/IconVerticalSolidList"/>
    <dgm:cxn modelId="{1019F0F0-1272-4EF2-A25E-9569C95B866B}" type="presParOf" srcId="{E4A0CB12-F2B6-4A62-82C8-3506427C9164}" destId="{58117011-8D5D-4747-80CD-8D2788FAFE28}" srcOrd="0" destOrd="0" presId="urn:microsoft.com/office/officeart/2018/2/layout/IconVerticalSolidList"/>
    <dgm:cxn modelId="{A0DC90DF-0683-43FD-AEE7-B828CCDBA25C}" type="presParOf" srcId="{E4A0CB12-F2B6-4A62-82C8-3506427C9164}" destId="{1C7B136C-B410-4D35-8B00-A9E44608E48D}" srcOrd="1" destOrd="0" presId="urn:microsoft.com/office/officeart/2018/2/layout/IconVerticalSolidList"/>
    <dgm:cxn modelId="{27E8384C-B892-4043-8198-08AA6369FB58}" type="presParOf" srcId="{E4A0CB12-F2B6-4A62-82C8-3506427C9164}" destId="{A148DB27-A5C7-43D0-8D46-434DE35488A9}" srcOrd="2" destOrd="0" presId="urn:microsoft.com/office/officeart/2018/2/layout/IconVerticalSolidList"/>
    <dgm:cxn modelId="{A5688826-91CE-4EF0-A544-2ED0AF773360}" type="presParOf" srcId="{E4A0CB12-F2B6-4A62-82C8-3506427C9164}" destId="{7EC0067D-B60D-46D0-8AC8-C58B64D277F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E561463-13A8-47D0-A801-80626667ADE9}">
      <dsp:nvSpPr>
        <dsp:cNvPr id="0" name=""/>
        <dsp:cNvSpPr/>
      </dsp:nvSpPr>
      <dsp:spPr>
        <a:xfrm>
          <a:off x="0" y="0"/>
          <a:ext cx="6960637" cy="0"/>
        </a:xfrm>
        <a:prstGeom prst="line">
          <a:avLst/>
        </a:prstGeom>
        <a:solidFill>
          <a:schemeClr val="accent2">
            <a:hueOff val="0"/>
            <a:satOff val="0"/>
            <a:lumOff val="0"/>
            <a:alphaOff val="0"/>
          </a:schemeClr>
        </a:solidFill>
        <a:ln w="15875"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245924-9211-4CB2-821B-BCC39C4B6955}">
      <dsp:nvSpPr>
        <dsp:cNvPr id="0" name=""/>
        <dsp:cNvSpPr/>
      </dsp:nvSpPr>
      <dsp:spPr>
        <a:xfrm>
          <a:off x="0" y="0"/>
          <a:ext cx="6960637" cy="1512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Font typeface="+mj-lt"/>
            <a:buNone/>
          </a:pPr>
          <a:r>
            <a:rPr lang="en-US" sz="3600" kern="1200" dirty="0">
              <a:latin typeface="+mn-lt"/>
            </a:rPr>
            <a:t>About the Federal Funds and Infrastructure Office (FFIO)</a:t>
          </a:r>
        </a:p>
      </dsp:txBody>
      <dsp:txXfrm>
        <a:off x="0" y="0"/>
        <a:ext cx="6960637" cy="1512649"/>
      </dsp:txXfrm>
    </dsp:sp>
    <dsp:sp modelId="{B96D2A12-D22B-454C-A4DE-0517F157A893}">
      <dsp:nvSpPr>
        <dsp:cNvPr id="0" name=""/>
        <dsp:cNvSpPr/>
      </dsp:nvSpPr>
      <dsp:spPr>
        <a:xfrm>
          <a:off x="0" y="1512649"/>
          <a:ext cx="6960637" cy="0"/>
        </a:xfrm>
        <a:prstGeom prst="line">
          <a:avLst/>
        </a:prstGeom>
        <a:solidFill>
          <a:schemeClr val="accent2">
            <a:hueOff val="-441124"/>
            <a:satOff val="497"/>
            <a:lumOff val="1177"/>
            <a:alphaOff val="0"/>
          </a:schemeClr>
        </a:solidFill>
        <a:ln w="15875" cap="flat" cmpd="sng" algn="ctr">
          <a:solidFill>
            <a:schemeClr val="accent2">
              <a:hueOff val="-441124"/>
              <a:satOff val="497"/>
              <a:lumOff val="117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ED454A2-8541-46F7-8DD4-7437E834DFAF}">
      <dsp:nvSpPr>
        <dsp:cNvPr id="0" name=""/>
        <dsp:cNvSpPr/>
      </dsp:nvSpPr>
      <dsp:spPr>
        <a:xfrm>
          <a:off x="0" y="1512649"/>
          <a:ext cx="6960637" cy="1512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Font typeface="+mj-lt"/>
            <a:buNone/>
          </a:pPr>
          <a:r>
            <a:rPr lang="en-US" sz="3600" kern="1200" dirty="0">
              <a:latin typeface="+mn-lt"/>
            </a:rPr>
            <a:t>Federal Outlook and Strategies for Competitiveness</a:t>
          </a:r>
        </a:p>
      </dsp:txBody>
      <dsp:txXfrm>
        <a:off x="0" y="1512649"/>
        <a:ext cx="6960637" cy="1512649"/>
      </dsp:txXfrm>
    </dsp:sp>
    <dsp:sp modelId="{48B47196-27C8-4AAF-BCC6-8FC140A10A64}">
      <dsp:nvSpPr>
        <dsp:cNvPr id="0" name=""/>
        <dsp:cNvSpPr/>
      </dsp:nvSpPr>
      <dsp:spPr>
        <a:xfrm>
          <a:off x="0" y="3025298"/>
          <a:ext cx="6960637" cy="0"/>
        </a:xfrm>
        <a:prstGeom prst="line">
          <a:avLst/>
        </a:prstGeom>
        <a:solidFill>
          <a:schemeClr val="accent2">
            <a:hueOff val="-882249"/>
            <a:satOff val="995"/>
            <a:lumOff val="2353"/>
            <a:alphaOff val="0"/>
          </a:schemeClr>
        </a:solidFill>
        <a:ln w="15875" cap="flat" cmpd="sng" algn="ctr">
          <a:solidFill>
            <a:schemeClr val="accent2">
              <a:hueOff val="-882249"/>
              <a:satOff val="995"/>
              <a:lumOff val="235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05B10C6-3510-4EC1-A5AB-62B6B64F53F5}">
      <dsp:nvSpPr>
        <dsp:cNvPr id="0" name=""/>
        <dsp:cNvSpPr/>
      </dsp:nvSpPr>
      <dsp:spPr>
        <a:xfrm>
          <a:off x="0" y="3025298"/>
          <a:ext cx="6960637" cy="1512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Font typeface="+mj-lt"/>
            <a:buNone/>
          </a:pPr>
          <a:r>
            <a:rPr lang="en-US" sz="3600" kern="1200" dirty="0">
              <a:solidFill>
                <a:prstClr val="black">
                  <a:hueOff val="0"/>
                  <a:satOff val="0"/>
                  <a:lumOff val="0"/>
                  <a:alphaOff val="0"/>
                </a:prstClr>
              </a:solidFill>
              <a:latin typeface="+mn-lt"/>
              <a:ea typeface="+mn-ea"/>
              <a:cs typeface="+mn-cs"/>
            </a:rPr>
            <a:t>FFIO’s Strategies for Ensuring Competitiveness</a:t>
          </a:r>
        </a:p>
      </dsp:txBody>
      <dsp:txXfrm>
        <a:off x="0" y="3025298"/>
        <a:ext cx="6960637" cy="1512649"/>
      </dsp:txXfrm>
    </dsp:sp>
    <dsp:sp modelId="{F39F94E5-166F-48D3-B1EE-4EE54A7206E6}">
      <dsp:nvSpPr>
        <dsp:cNvPr id="0" name=""/>
        <dsp:cNvSpPr/>
      </dsp:nvSpPr>
      <dsp:spPr>
        <a:xfrm>
          <a:off x="0" y="4537947"/>
          <a:ext cx="6960637" cy="0"/>
        </a:xfrm>
        <a:prstGeom prst="line">
          <a:avLst/>
        </a:prstGeom>
        <a:solidFill>
          <a:schemeClr val="accent2">
            <a:hueOff val="-1323373"/>
            <a:satOff val="1492"/>
            <a:lumOff val="3530"/>
            <a:alphaOff val="0"/>
          </a:schemeClr>
        </a:solidFill>
        <a:ln w="15875" cap="flat" cmpd="sng" algn="ctr">
          <a:solidFill>
            <a:schemeClr val="accent2">
              <a:hueOff val="-1323373"/>
              <a:satOff val="1492"/>
              <a:lumOff val="353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E6C7ED0-550A-4586-94D1-EB239AD7A8A9}">
      <dsp:nvSpPr>
        <dsp:cNvPr id="0" name=""/>
        <dsp:cNvSpPr/>
      </dsp:nvSpPr>
      <dsp:spPr>
        <a:xfrm>
          <a:off x="0" y="4537947"/>
          <a:ext cx="6960637" cy="15126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rtl="0">
            <a:lnSpc>
              <a:spcPct val="90000"/>
            </a:lnSpc>
            <a:spcBef>
              <a:spcPct val="0"/>
            </a:spcBef>
            <a:spcAft>
              <a:spcPct val="35000"/>
            </a:spcAft>
            <a:buFont typeface="+mj-lt"/>
            <a:buNone/>
          </a:pPr>
          <a:r>
            <a:rPr lang="en-US" sz="3600" kern="1200" dirty="0">
              <a:solidFill>
                <a:prstClr val="black">
                  <a:hueOff val="0"/>
                  <a:satOff val="0"/>
                  <a:lumOff val="0"/>
                  <a:alphaOff val="0"/>
                </a:prstClr>
              </a:solidFill>
              <a:latin typeface="+mn-lt"/>
              <a:ea typeface="+mn-ea"/>
              <a:cs typeface="+mn-cs"/>
            </a:rPr>
            <a:t>Project Focus: Allston Multimodal Project</a:t>
          </a:r>
        </a:p>
        <a:p>
          <a:pPr marL="0" lvl="0" indent="0" algn="l" defTabSz="1600200" rtl="0">
            <a:lnSpc>
              <a:spcPct val="90000"/>
            </a:lnSpc>
            <a:spcBef>
              <a:spcPct val="0"/>
            </a:spcBef>
            <a:spcAft>
              <a:spcPct val="35000"/>
            </a:spcAft>
            <a:buFont typeface="+mj-lt"/>
            <a:buNone/>
          </a:pPr>
          <a:endParaRPr lang="en-US" sz="3600" kern="1200" dirty="0">
            <a:solidFill>
              <a:prstClr val="black">
                <a:hueOff val="0"/>
                <a:satOff val="0"/>
                <a:lumOff val="0"/>
                <a:alphaOff val="0"/>
              </a:prstClr>
            </a:solidFill>
            <a:latin typeface="+mn-lt"/>
            <a:ea typeface="+mn-ea"/>
            <a:cs typeface="+mn-cs"/>
          </a:endParaRPr>
        </a:p>
        <a:p>
          <a:pPr marL="0" lvl="0" indent="0" algn="l" defTabSz="1600200" rtl="0">
            <a:lnSpc>
              <a:spcPct val="90000"/>
            </a:lnSpc>
            <a:spcBef>
              <a:spcPct val="0"/>
            </a:spcBef>
            <a:spcAft>
              <a:spcPct val="35000"/>
            </a:spcAft>
            <a:buFont typeface="+mj-lt"/>
            <a:buNone/>
          </a:pPr>
          <a:endParaRPr lang="en-US" sz="3600" kern="1200" dirty="0">
            <a:solidFill>
              <a:prstClr val="black">
                <a:hueOff val="0"/>
                <a:satOff val="0"/>
                <a:lumOff val="0"/>
                <a:alphaOff val="0"/>
              </a:prstClr>
            </a:solidFill>
            <a:latin typeface="+mn-lt"/>
            <a:ea typeface="+mn-ea"/>
            <a:cs typeface="+mn-cs"/>
          </a:endParaRPr>
        </a:p>
      </dsp:txBody>
      <dsp:txXfrm>
        <a:off x="0" y="4537947"/>
        <a:ext cx="6960637" cy="15126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C0CFE-CB0A-44B3-89C8-D749A9E1B18C}">
      <dsp:nvSpPr>
        <dsp:cNvPr id="0" name=""/>
        <dsp:cNvSpPr/>
      </dsp:nvSpPr>
      <dsp:spPr>
        <a:xfrm>
          <a:off x="0" y="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88E8319-B6D5-49D3-B540-92B6D9A64BEC}">
      <dsp:nvSpPr>
        <dsp:cNvPr id="0" name=""/>
        <dsp:cNvSpPr/>
      </dsp:nvSpPr>
      <dsp:spPr>
        <a:xfrm>
          <a:off x="347869" y="261014"/>
          <a:ext cx="632489" cy="632489"/>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A883FDD-2842-4E49-87E1-009417EEDE74}">
      <dsp:nvSpPr>
        <dsp:cNvPr id="0" name=""/>
        <dsp:cNvSpPr/>
      </dsp:nvSpPr>
      <dsp:spPr>
        <a:xfrm>
          <a:off x="1328227" y="2268"/>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Identifying and tracking key federal funding opportunities </a:t>
          </a:r>
          <a:r>
            <a:rPr lang="en-US" sz="1600" b="1" kern="1200"/>
            <a:t>and Massachusetts applications through the State Clearinghouse</a:t>
          </a:r>
          <a:endParaRPr lang="en-US" sz="1600" kern="1200"/>
        </a:p>
      </dsp:txBody>
      <dsp:txXfrm>
        <a:off x="1328227" y="2268"/>
        <a:ext cx="5914790" cy="1149980"/>
      </dsp:txXfrm>
    </dsp:sp>
    <dsp:sp modelId="{B8DB16D8-4226-454D-9A09-BB040DD2E36C}">
      <dsp:nvSpPr>
        <dsp:cNvPr id="0" name=""/>
        <dsp:cNvSpPr/>
      </dsp:nvSpPr>
      <dsp:spPr>
        <a:xfrm>
          <a:off x="0" y="1439744"/>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64C5C8F-9437-4747-BE47-8A248FCF0411}">
      <dsp:nvSpPr>
        <dsp:cNvPr id="0" name=""/>
        <dsp:cNvSpPr/>
      </dsp:nvSpPr>
      <dsp:spPr>
        <a:xfrm>
          <a:off x="347869" y="1698490"/>
          <a:ext cx="632489" cy="632489"/>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1CCC648-1946-4024-BC72-12F157BF1C01}">
      <dsp:nvSpPr>
        <dsp:cNvPr id="0" name=""/>
        <dsp:cNvSpPr/>
      </dsp:nvSpPr>
      <dsp:spPr>
        <a:xfrm>
          <a:off x="1328227" y="1439744"/>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i="0" kern="1200"/>
            <a:t>Leading bi-weekly meetings of the interagency Advisory Council on Federal Funds and Infrastructure</a:t>
          </a:r>
          <a:endParaRPr lang="en-US" sz="1600" b="1" kern="1200"/>
        </a:p>
      </dsp:txBody>
      <dsp:txXfrm>
        <a:off x="1328227" y="1439744"/>
        <a:ext cx="5914790" cy="1149980"/>
      </dsp:txXfrm>
    </dsp:sp>
    <dsp:sp modelId="{2424DD3C-D8C4-4E3B-93BA-991BC7EAB6F2}">
      <dsp:nvSpPr>
        <dsp:cNvPr id="0" name=""/>
        <dsp:cNvSpPr/>
      </dsp:nvSpPr>
      <dsp:spPr>
        <a:xfrm>
          <a:off x="0" y="2877220"/>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CFEB0C4-30B7-4493-ACBB-424B6B9D5B6B}">
      <dsp:nvSpPr>
        <dsp:cNvPr id="0" name=""/>
        <dsp:cNvSpPr/>
      </dsp:nvSpPr>
      <dsp:spPr>
        <a:xfrm>
          <a:off x="347869" y="3135965"/>
          <a:ext cx="632489" cy="632489"/>
        </a:xfrm>
        <a:prstGeom prst="rect">
          <a:avLst/>
        </a:prstGeom>
        <a:blipFill>
          <a:blip xmlns:r="http://schemas.openxmlformats.org/officeDocument/2006/relationships" r:embed="rId5">
            <a:extLst>
              <a:ext uri="{96DAC541-7B7A-43D3-8B79-37D633B846F1}">
                <asvg:svgBlip xmlns:asvg="http://schemas.microsoft.com/office/drawing/2016/SVG/main" r:embed="rId6"/>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099E753-F35B-4A24-8E1C-78892999158A}">
      <dsp:nvSpPr>
        <dsp:cNvPr id="0" name=""/>
        <dsp:cNvSpPr/>
      </dsp:nvSpPr>
      <dsp:spPr>
        <a:xfrm>
          <a:off x="1328227" y="2877220"/>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Leading the Massachusetts Federal Funds Partnership and other meetings to support local governments in their applications for federal funding</a:t>
          </a:r>
        </a:p>
      </dsp:txBody>
      <dsp:txXfrm>
        <a:off x="1328227" y="2877220"/>
        <a:ext cx="5914790" cy="1149980"/>
      </dsp:txXfrm>
    </dsp:sp>
    <dsp:sp modelId="{58117011-8D5D-4747-80CD-8D2788FAFE28}">
      <dsp:nvSpPr>
        <dsp:cNvPr id="0" name=""/>
        <dsp:cNvSpPr/>
      </dsp:nvSpPr>
      <dsp:spPr>
        <a:xfrm>
          <a:off x="0" y="4314695"/>
          <a:ext cx="7243018" cy="1149980"/>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C7B136C-B410-4D35-8B00-A9E44608E48D}">
      <dsp:nvSpPr>
        <dsp:cNvPr id="0" name=""/>
        <dsp:cNvSpPr/>
      </dsp:nvSpPr>
      <dsp:spPr>
        <a:xfrm>
          <a:off x="347869" y="4573441"/>
          <a:ext cx="632489" cy="632489"/>
        </a:xfrm>
        <a:prstGeom prst="rect">
          <a:avLst/>
        </a:prstGeom>
        <a:blipFill>
          <a:blip xmlns:r="http://schemas.openxmlformats.org/officeDocument/2006/relationships" r:embed="rId7">
            <a:extLst>
              <a:ext uri="{96DAC541-7B7A-43D3-8B79-37D633B846F1}">
                <asvg:svgBlip xmlns:asvg="http://schemas.microsoft.com/office/drawing/2016/SVG/main" r:embed="rId8"/>
              </a:ext>
            </a:extLst>
          </a:blip>
          <a:srcRect/>
          <a:stretch>
            <a:fillRect/>
          </a:stretch>
        </a:blipFill>
        <a:ln w="15875" cap="flat" cmpd="sng" algn="ctr">
          <a:solidFill>
            <a:schemeClr val="lt1">
              <a:alpha val="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EC0067D-B60D-46D0-8AC8-C58B64D277FA}">
      <dsp:nvSpPr>
        <dsp:cNvPr id="0" name=""/>
        <dsp:cNvSpPr/>
      </dsp:nvSpPr>
      <dsp:spPr>
        <a:xfrm>
          <a:off x="1328227" y="4314695"/>
          <a:ext cx="5914790" cy="11499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706" tIns="121706" rIns="121706" bIns="121706" numCol="1" spcCol="1270" anchor="ctr" anchorCtr="0">
          <a:noAutofit/>
        </a:bodyPr>
        <a:lstStyle/>
        <a:p>
          <a:pPr marL="0" lvl="0" indent="0" algn="l" defTabSz="711200">
            <a:lnSpc>
              <a:spcPct val="100000"/>
            </a:lnSpc>
            <a:spcBef>
              <a:spcPct val="0"/>
            </a:spcBef>
            <a:spcAft>
              <a:spcPct val="35000"/>
            </a:spcAft>
            <a:buNone/>
          </a:pPr>
          <a:r>
            <a:rPr lang="en-US" sz="1600" b="1" kern="1200"/>
            <a:t>Implementing the Federal Match legislation (</a:t>
          </a:r>
          <a:r>
            <a:rPr lang="en-US" sz="1600" b="1" i="1" kern="1200"/>
            <a:t>Chapter 214 of the Acts of 2024)</a:t>
          </a:r>
          <a:endParaRPr lang="en-US" sz="1600" b="1" kern="1200"/>
        </a:p>
      </dsp:txBody>
      <dsp:txXfrm>
        <a:off x="1328227" y="4314695"/>
        <a:ext cx="5914790" cy="114998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09E0E3F-F38E-1249-BD30-8B536E56E2A8}" type="datetimeFigureOut">
              <a:rPr lang="en-US" smtClean="0"/>
              <a:t>4/1/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C049CA-11BC-FF40-83AD-A1E33CD10675}" type="slidenum">
              <a:rPr lang="en-US" smtClean="0"/>
              <a:t>‹#›</a:t>
            </a:fld>
            <a:endParaRPr lang="en-US"/>
          </a:p>
        </p:txBody>
      </p:sp>
    </p:spTree>
    <p:extLst>
      <p:ext uri="{BB962C8B-B14F-4D97-AF65-F5344CB8AC3E}">
        <p14:creationId xmlns:p14="http://schemas.microsoft.com/office/powerpoint/2010/main" val="35749813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EE6CF9F-4738-4A07-BBF7-C2ACB526C4B4}" type="slidenum">
              <a:rPr lang="en-US" smtClean="0"/>
              <a:t>2</a:t>
            </a:fld>
            <a:endParaRPr lang="en-US"/>
          </a:p>
        </p:txBody>
      </p:sp>
    </p:spTree>
    <p:extLst>
      <p:ext uri="{BB962C8B-B14F-4D97-AF65-F5344CB8AC3E}">
        <p14:creationId xmlns:p14="http://schemas.microsoft.com/office/powerpoint/2010/main" val="655997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E6CF9F-4738-4A07-BBF7-C2ACB526C4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221791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0" name="Rectangle 9"/>
          <p:cNvSpPr/>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457200" y="4960137"/>
            <a:ext cx="7772400" cy="1463040"/>
          </a:xfrm>
        </p:spPr>
        <p:txBody>
          <a:bodyPr anchor="ctr">
            <a:normAutofit/>
          </a:bodyPr>
          <a:lstStyle>
            <a:lvl1pPr algn="r">
              <a:defRPr sz="5000" spc="200" baseline="0"/>
            </a:lvl1pPr>
          </a:lstStyle>
          <a:p>
            <a:r>
              <a:rPr lang="en-US"/>
              <a:t>Click to edit Master title style</a:t>
            </a:r>
          </a:p>
        </p:txBody>
      </p:sp>
      <p:sp>
        <p:nvSpPr>
          <p:cNvPr id="3" name="Subtitle 2"/>
          <p:cNvSpPr>
            <a:spLocks noGrp="1"/>
          </p:cNvSpPr>
          <p:nvPr>
            <p:ph type="subTitle" idx="1"/>
          </p:nvPr>
        </p:nvSpPr>
        <p:spPr>
          <a:xfrm>
            <a:off x="8610600" y="4960137"/>
            <a:ext cx="3200400" cy="1463040"/>
          </a:xfrm>
        </p:spPr>
        <p:txBody>
          <a:bodyPr lIns="91440" rIns="91440" anchor="ctr">
            <a:normAutofit/>
          </a:bodyPr>
          <a:lstStyle>
            <a:lvl1pPr marL="0" indent="0" algn="l">
              <a:lnSpc>
                <a:spcPct val="100000"/>
              </a:lnSpc>
              <a:spcBef>
                <a:spcPts val="0"/>
              </a:spcBef>
              <a:buNone/>
              <a:defRPr sz="1800">
                <a:solidFill>
                  <a:schemeClr val="tx1">
                    <a:lumMod val="95000"/>
                    <a:lumOff val="5000"/>
                  </a:schemeClr>
                </a:solidFill>
              </a:defRPr>
            </a:lvl1pPr>
            <a:lvl2pPr marL="457200" indent="0" algn="ctr">
              <a:buNone/>
              <a:defRPr sz="1800"/>
            </a:lvl2pPr>
            <a:lvl3pPr marL="914400" indent="0" algn="ctr">
              <a:buNone/>
              <a:defRPr sz="1800"/>
            </a:lvl3pPr>
            <a:lvl4pPr marL="1371600" indent="0" algn="ctr">
              <a:buNone/>
              <a:defRPr sz="1800"/>
            </a:lvl4pPr>
            <a:lvl5pPr marL="1828800" indent="0" algn="ctr">
              <a:buNone/>
              <a:defRPr sz="1800"/>
            </a:lvl5pPr>
            <a:lvl6pPr marL="2286000" indent="0" algn="ctr">
              <a:buNone/>
              <a:defRPr sz="1800"/>
            </a:lvl6pPr>
            <a:lvl7pPr marL="2743200" indent="0" algn="ctr">
              <a:buNone/>
              <a:defRPr sz="1800"/>
            </a:lvl7pPr>
            <a:lvl8pPr marL="3200400" indent="0" algn="ctr">
              <a:buNone/>
              <a:defRPr sz="1800"/>
            </a:lvl8pPr>
            <a:lvl9pPr marL="3657600" indent="0" algn="ctr">
              <a:buNone/>
              <a:defRPr sz="1800"/>
            </a:lvl9pPr>
          </a:lstStyle>
          <a:p>
            <a:r>
              <a:rPr lang="en-US"/>
              <a:t>Click to edit Master subtitle style</a:t>
            </a:r>
          </a:p>
        </p:txBody>
      </p:sp>
      <p:sp>
        <p:nvSpPr>
          <p:cNvPr id="4" name="Date Placeholder 3"/>
          <p:cNvSpPr>
            <a:spLocks noGrp="1"/>
          </p:cNvSpPr>
          <p:nvPr>
            <p:ph type="dt" sz="half" idx="10"/>
          </p:nvPr>
        </p:nvSpPr>
        <p:spPr/>
        <p:txBody>
          <a:bodyPr/>
          <a:lstStyle>
            <a:lvl1pPr algn="l">
              <a:defRPr/>
            </a:lvl1pPr>
          </a:lstStyle>
          <a:p>
            <a:fld id="{C68F6BC1-8266-4D12-96DD-909D5278AA3D}"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4505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698631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762000"/>
            <a:ext cx="2628900" cy="5410200"/>
          </a:xfrm>
        </p:spPr>
        <p:txBody>
          <a:bodyPr vert="eaVert" lIns="45720" tIns="91440" rIns="45720" bIns="91440"/>
          <a:lstStyle/>
          <a:p>
            <a:r>
              <a:rPr lang="en-US"/>
              <a:t>Click to edit Master title style</a:t>
            </a:r>
          </a:p>
        </p:txBody>
      </p:sp>
      <p:sp>
        <p:nvSpPr>
          <p:cNvPr id="3" name="Vertical Text Placeholder 2"/>
          <p:cNvSpPr>
            <a:spLocks noGrp="1"/>
          </p:cNvSpPr>
          <p:nvPr>
            <p:ph type="body" orient="vert" idx="1"/>
          </p:nvPr>
        </p:nvSpPr>
        <p:spPr>
          <a:xfrm>
            <a:off x="990601" y="762000"/>
            <a:ext cx="7581900" cy="5410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7" name="Straight Connector 6"/>
          <p:cNvCxnSpPr/>
          <p:nvPr/>
        </p:nvCxnSpPr>
        <p:spPr>
          <a:xfrm rot="5400000" flipV="1">
            <a:off x="10058400" y="59263"/>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609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8" name="Text Placeholder 16"/>
          <p:cNvSpPr>
            <a:spLocks noGrp="1"/>
          </p:cNvSpPr>
          <p:nvPr>
            <p:ph type="body" sz="quarter" idx="11"/>
          </p:nvPr>
        </p:nvSpPr>
        <p:spPr>
          <a:xfrm>
            <a:off x="403961" y="145409"/>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474342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68F6BC1-8266-4D12-96DD-909D5278AA3D}"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28326718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9" name="Rectangle 8"/>
          <p:cNvSpPr/>
          <p:nvPr/>
        </p:nvSpPr>
        <p:spPr>
          <a:xfrm>
            <a:off x="0" y="0"/>
            <a:ext cx="12192000" cy="4572001"/>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1" name="Oval 5"/>
          <p:cNvSpPr/>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4960137"/>
            <a:ext cx="7772400" cy="1463040"/>
          </a:xfrm>
        </p:spPr>
        <p:txBody>
          <a:bodyPr anchor="ctr">
            <a:normAutofit/>
          </a:bodyPr>
          <a:lstStyle>
            <a:lvl1pPr algn="r">
              <a:defRPr sz="5000" b="0" spc="200" baseline="0"/>
            </a:lvl1pPr>
          </a:lstStyle>
          <a:p>
            <a:r>
              <a:rPr lang="en-US"/>
              <a:t>Click to edit Master title style</a:t>
            </a:r>
          </a:p>
        </p:txBody>
      </p:sp>
      <p:sp>
        <p:nvSpPr>
          <p:cNvPr id="3" name="Text Placeholder 2"/>
          <p:cNvSpPr>
            <a:spLocks noGrp="1"/>
          </p:cNvSpPr>
          <p:nvPr>
            <p:ph type="body" idx="1"/>
          </p:nvPr>
        </p:nvSpPr>
        <p:spPr>
          <a:xfrm>
            <a:off x="8610600" y="4960137"/>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68F6BC1-8266-4D12-96DD-909D5278AA3D}" type="datetimeFigureOut">
              <a:rPr lang="en-US" smtClean="0"/>
              <a:t>4/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94077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24128" y="585216"/>
            <a:ext cx="9720072" cy="1499616"/>
          </a:xfrm>
        </p:spPr>
        <p:txBody>
          <a:bodyPr/>
          <a:lstStyle/>
          <a:p>
            <a:r>
              <a:rPr lang="en-US"/>
              <a:t>Click to edit Master title style</a:t>
            </a:r>
          </a:p>
        </p:txBody>
      </p:sp>
      <p:sp>
        <p:nvSpPr>
          <p:cNvPr id="3" name="Content Placeholder 2"/>
          <p:cNvSpPr>
            <a:spLocks noGrp="1"/>
          </p:cNvSpPr>
          <p:nvPr>
            <p:ph sz="half" idx="1"/>
          </p:nvPr>
        </p:nvSpPr>
        <p:spPr>
          <a:xfrm>
            <a:off x="1024127"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989320" y="2286000"/>
            <a:ext cx="475488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68F6BC1-8266-4D12-96DD-909D5278AA3D}" type="datetimeFigureOut">
              <a:rPr lang="en-US" smtClean="0"/>
              <a:t>4/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2658165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a:t>Click to edit Master title style</a:t>
            </a:r>
          </a:p>
        </p:txBody>
      </p:sp>
      <p:sp>
        <p:nvSpPr>
          <p:cNvPr id="3" name="Text Placeholder 2"/>
          <p:cNvSpPr>
            <a:spLocks noGrp="1"/>
          </p:cNvSpPr>
          <p:nvPr>
            <p:ph type="body" idx="1"/>
          </p:nvPr>
        </p:nvSpPr>
        <p:spPr>
          <a:xfrm>
            <a:off x="1024128" y="2179636"/>
            <a:ext cx="4754880" cy="822960"/>
          </a:xfrm>
        </p:spPr>
        <p:txBody>
          <a:bodyPr lIns="137160" rIns="137160" anchor="ctr">
            <a:normAutofit/>
          </a:bodyPr>
          <a:lstStyle>
            <a:lvl1pPr marL="0" indent="0">
              <a:spcBef>
                <a:spcPts val="0"/>
              </a:spcBef>
              <a:spcAft>
                <a:spcPts val="0"/>
              </a:spcAft>
              <a:buNone/>
              <a:defRPr sz="2300" b="0" cap="none" baseline="0">
                <a:solidFill>
                  <a:schemeClr val="accent1"/>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2412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990888" y="2179636"/>
            <a:ext cx="4754880" cy="822960"/>
          </a:xfrm>
        </p:spPr>
        <p:txBody>
          <a:bodyPr lIns="137160" rIns="137160" anchor="ctr">
            <a:normAutofit/>
          </a:bodyPr>
          <a:lstStyle>
            <a:lvl1pPr marL="0" indent="0">
              <a:spcBef>
                <a:spcPts val="0"/>
              </a:spcBef>
              <a:spcAft>
                <a:spcPts val="0"/>
              </a:spcAft>
              <a:buNone/>
              <a:defRPr lang="en-US" sz="2300" b="0" kern="1200" cap="none" baseline="0" dirty="0">
                <a:solidFill>
                  <a:schemeClr val="accent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800"/>
              </a:spcBef>
              <a:buNone/>
            </a:pPr>
            <a:r>
              <a:rPr lang="en-US"/>
              <a:t>Click to edit Master text styles</a:t>
            </a:r>
          </a:p>
        </p:txBody>
      </p:sp>
      <p:sp>
        <p:nvSpPr>
          <p:cNvPr id="6" name="Content Placeholder 5"/>
          <p:cNvSpPr>
            <a:spLocks noGrp="1"/>
          </p:cNvSpPr>
          <p:nvPr>
            <p:ph sz="quarter" idx="4"/>
          </p:nvPr>
        </p:nvSpPr>
        <p:spPr>
          <a:xfrm>
            <a:off x="5990888" y="2967788"/>
            <a:ext cx="4754880" cy="33415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68F6BC1-8266-4D12-96DD-909D5278AA3D}" type="datetimeFigureOut">
              <a:rPr lang="en-US" smtClean="0"/>
              <a:t>4/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11986447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68F6BC1-8266-4D12-96DD-909D5278AA3D}" type="datetimeFigureOut">
              <a:rPr lang="en-US" smtClean="0"/>
              <a:t>4/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9313404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68F6BC1-8266-4D12-96DD-909D5278AA3D}" type="datetimeFigureOut">
              <a:rPr lang="en-US" smtClean="0"/>
              <a:t>4/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2224356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a:xfrm>
            <a:off x="1024128" y="471509"/>
            <a:ext cx="4389120" cy="1737360"/>
          </a:xfrm>
        </p:spPr>
        <p:txBody>
          <a:bodyPr>
            <a:noAutofit/>
          </a:bodyPr>
          <a:lstStyle>
            <a:lvl1pPr>
              <a:lnSpc>
                <a:spcPct val="80000"/>
              </a:lnSpc>
              <a:defRPr sz="4000"/>
            </a:lvl1pPr>
          </a:lstStyle>
          <a:p>
            <a:r>
              <a:rPr lang="en-US"/>
              <a:t>Click to edit Master title style</a:t>
            </a:r>
          </a:p>
        </p:txBody>
      </p:sp>
      <p:sp>
        <p:nvSpPr>
          <p:cNvPr id="3" name="Content Placeholder 2"/>
          <p:cNvSpPr>
            <a:spLocks noGrp="1"/>
          </p:cNvSpPr>
          <p:nvPr>
            <p:ph idx="1"/>
          </p:nvPr>
        </p:nvSpPr>
        <p:spPr>
          <a:xfrm>
            <a:off x="5715000" y="822960"/>
            <a:ext cx="5678424" cy="5184648"/>
          </a:xfrm>
        </p:spPr>
        <p:txBody>
          <a:bodyPr/>
          <a:lstStyle>
            <a:lvl1pPr>
              <a:defRPr sz="2400"/>
            </a:lvl1pPr>
            <a:lvl2pPr>
              <a:defRPr sz="20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24128" y="2257506"/>
            <a:ext cx="4389120" cy="3762294"/>
          </a:xfrm>
        </p:spPr>
        <p:txBody>
          <a:bodyPr lIns="91440" rIns="91440">
            <a:normAutofit/>
          </a:bodyPr>
          <a:lstStyle>
            <a:lvl1pPr marL="0" indent="0">
              <a:lnSpc>
                <a:spcPct val="108000"/>
              </a:lnSpc>
              <a:spcBef>
                <a:spcPts val="6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68F6BC1-8266-4D12-96DD-909D5278AA3D}" type="datetimeFigureOut">
              <a:rPr lang="en-US" smtClean="0"/>
              <a:t>4/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spTree>
    <p:extLst>
      <p:ext uri="{BB962C8B-B14F-4D97-AF65-F5344CB8AC3E}">
        <p14:creationId xmlns:p14="http://schemas.microsoft.com/office/powerpoint/2010/main" val="3687537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4960138"/>
            <a:ext cx="7772400" cy="1463040"/>
          </a:xfrm>
        </p:spPr>
        <p:txBody>
          <a:bodyPr anchor="ctr">
            <a:normAutofit/>
          </a:bodyPr>
          <a:lstStyle>
            <a:lvl1pPr algn="r">
              <a:defRPr sz="5000" spc="200" baseline="0"/>
            </a:lvl1pPr>
          </a:lstStyle>
          <a:p>
            <a:r>
              <a:rPr lang="en-US"/>
              <a:t>Click to edit Master title style</a:t>
            </a:r>
          </a:p>
        </p:txBody>
      </p:sp>
      <p:sp>
        <p:nvSpPr>
          <p:cNvPr id="3" name="Picture Placeholder 2"/>
          <p:cNvSpPr>
            <a:spLocks noGrp="1" noChangeAspect="1"/>
          </p:cNvSpPr>
          <p:nvPr>
            <p:ph type="pic" idx="1"/>
          </p:nvPr>
        </p:nvSpPr>
        <p:spPr>
          <a:xfrm>
            <a:off x="0" y="-1"/>
            <a:ext cx="12188952" cy="4572000"/>
          </a:xfrm>
          <a:solidFill>
            <a:schemeClr val="accent1">
              <a:lumMod val="60000"/>
              <a:lumOff val="40000"/>
            </a:schemeClr>
          </a:solidFill>
        </p:spPr>
        <p:txBody>
          <a:bodyPr lIns="457200" tIns="365760" rIns="45720" bIns="4572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610600" y="4960138"/>
            <a:ext cx="3200400" cy="1463040"/>
          </a:xfrm>
        </p:spPr>
        <p:txBody>
          <a:bodyPr lIns="91440" rIns="91440" anchor="ctr">
            <a:normAutofit/>
          </a:bodyPr>
          <a:lstStyle>
            <a:lvl1pPr marL="0" indent="0">
              <a:lnSpc>
                <a:spcPct val="100000"/>
              </a:lnSpc>
              <a:spcBef>
                <a:spcPts val="0"/>
              </a:spcBef>
              <a:buNone/>
              <a:defRPr sz="1800">
                <a:solidFill>
                  <a:schemeClr val="tx1">
                    <a:lumMod val="95000"/>
                    <a:lumOff val="5000"/>
                  </a:schemeClr>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68F6BC1-8266-4D12-96DD-909D5278AA3D}" type="datetimeFigureOut">
              <a:rPr lang="en-US" smtClean="0"/>
              <a:t>4/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421358C-0DEE-4D35-BD14-2A70E6046756}" type="slidenum">
              <a:rPr lang="en-US" smtClean="0"/>
              <a:t>‹#›</a:t>
            </a:fld>
            <a:endParaRPr lang="en-US"/>
          </a:p>
        </p:txBody>
      </p:sp>
      <p:cxnSp>
        <p:nvCxnSpPr>
          <p:cNvPr id="8" name="Straight Connector 7"/>
          <p:cNvCxnSpPr/>
          <p:nvPr/>
        </p:nvCxnSpPr>
        <p:spPr>
          <a:xfrm flipV="1">
            <a:off x="8386843" y="5264106"/>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631435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24128" y="585216"/>
            <a:ext cx="9720072" cy="1499616"/>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24128" y="2286000"/>
            <a:ext cx="9720073" cy="4023360"/>
          </a:xfrm>
          <a:prstGeom prst="rect">
            <a:avLst/>
          </a:prstGeom>
        </p:spPr>
        <p:txBody>
          <a:bodyPr vert="horz" lIns="45720" tIns="45720" rIns="4572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24129" y="6470704"/>
            <a:ext cx="2154143"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C68F6BC1-8266-4D12-96DD-909D5278AA3D}" type="datetimeFigureOut">
              <a:rPr lang="en-US" smtClean="0"/>
              <a:t>4/1/2025</a:t>
            </a:fld>
            <a:endParaRPr lang="en-US"/>
          </a:p>
        </p:txBody>
      </p:sp>
      <p:sp>
        <p:nvSpPr>
          <p:cNvPr id="5" name="Footer Placeholder 4"/>
          <p:cNvSpPr>
            <a:spLocks noGrp="1"/>
          </p:cNvSpPr>
          <p:nvPr>
            <p:ph type="ftr" sz="quarter" idx="3"/>
          </p:nvPr>
        </p:nvSpPr>
        <p:spPr>
          <a:xfrm>
            <a:off x="4842932" y="6470704"/>
            <a:ext cx="5901459" cy="274320"/>
          </a:xfrm>
          <a:prstGeom prst="rect">
            <a:avLst/>
          </a:prstGeom>
        </p:spPr>
        <p:txBody>
          <a:bodyPr vert="horz" lIns="91440" tIns="45720" rIns="91440" bIns="45720" rtlCol="0" anchor="ctr"/>
          <a:lstStyle>
            <a:lvl1pPr algn="r">
              <a:defRPr sz="1000" cap="all" baseline="0">
                <a:solidFill>
                  <a:schemeClr val="tx1">
                    <a:lumMod val="95000"/>
                    <a:lumOff val="5000"/>
                  </a:schemeClr>
                </a:solidFill>
                <a:latin typeface="+mj-lt"/>
              </a:defRPr>
            </a:lvl1pPr>
          </a:lstStyle>
          <a:p>
            <a:endParaRPr lang="en-US"/>
          </a:p>
        </p:txBody>
      </p:sp>
      <p:sp>
        <p:nvSpPr>
          <p:cNvPr id="6" name="Slide Number Placeholder 5"/>
          <p:cNvSpPr>
            <a:spLocks noGrp="1"/>
          </p:cNvSpPr>
          <p:nvPr>
            <p:ph type="sldNum" sz="quarter" idx="4"/>
          </p:nvPr>
        </p:nvSpPr>
        <p:spPr>
          <a:xfrm>
            <a:off x="10837333" y="6470704"/>
            <a:ext cx="973667" cy="274320"/>
          </a:xfrm>
          <a:prstGeom prst="rect">
            <a:avLst/>
          </a:prstGeom>
        </p:spPr>
        <p:txBody>
          <a:bodyPr vert="horz" lIns="91440" tIns="45720" rIns="91440" bIns="45720" rtlCol="0" anchor="ctr"/>
          <a:lstStyle>
            <a:lvl1pPr algn="l">
              <a:defRPr sz="1000">
                <a:solidFill>
                  <a:schemeClr val="tx1">
                    <a:lumMod val="95000"/>
                    <a:lumOff val="5000"/>
                  </a:schemeClr>
                </a:solidFill>
                <a:latin typeface="+mj-lt"/>
              </a:defRPr>
            </a:lvl1pPr>
          </a:lstStyle>
          <a:p>
            <a:fld id="{4421358C-0DEE-4D35-BD14-2A70E6046756}" type="slidenum">
              <a:rPr lang="en-US" smtClean="0"/>
              <a:t>‹#›</a:t>
            </a:fld>
            <a:endParaRPr lang="en-US"/>
          </a:p>
        </p:txBody>
      </p:sp>
      <p:cxnSp>
        <p:nvCxnSpPr>
          <p:cNvPr id="7" name="Straight Connector 6"/>
          <p:cNvCxnSpPr/>
          <p:nvPr/>
        </p:nvCxnSpPr>
        <p:spPr>
          <a:xfrm flipV="1">
            <a:off x="762000" y="826324"/>
            <a:ext cx="0" cy="9144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819816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hyperlink" Target="https://www.mass.gov/info-details/massachusetts-federal-grant-matching-funds" TargetMode="External"/><Relationship Id="rId2" Type="http://schemas.openxmlformats.org/officeDocument/2006/relationships/hyperlink" Target="https://forms.office.com/Pages/ResponsePage.aspx?id=Fh2GPrdIDkqYBowE2Bt7KhfzQgLHqeZApubrvc3icp5UNkVaMkQxUU4wSFQxNzNHRTFQWllZRk5DTS4u"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hyperlink" Target="mailto:FedFundsInfra@mass.gov"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sv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4.png"/><Relationship Id="rId5" Type="http://schemas.openxmlformats.org/officeDocument/2006/relationships/image" Target="../media/image13.sv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3" name="Rectangle 32">
            <a:extLst>
              <a:ext uri="{FF2B5EF4-FFF2-40B4-BE49-F238E27FC236}">
                <a16:creationId xmlns:a16="http://schemas.microsoft.com/office/drawing/2014/main" id="{A540FAC9-3505-49ED-9B06-A0F8C148539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5" name="Rectangle 34">
            <a:extLst>
              <a:ext uri="{FF2B5EF4-FFF2-40B4-BE49-F238E27FC236}">
                <a16:creationId xmlns:a16="http://schemas.microsoft.com/office/drawing/2014/main" id="{9879B3CD-E329-42F5-B136-BA1F37EC053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05464" y="484632"/>
            <a:ext cx="7453538" cy="588091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0F387882-DF90-E287-A6BF-24F2BC095DCF}"/>
              </a:ext>
            </a:extLst>
          </p:cNvPr>
          <p:cNvSpPr>
            <a:spLocks noGrp="1"/>
          </p:cNvSpPr>
          <p:nvPr>
            <p:ph type="ctrTitle"/>
          </p:nvPr>
        </p:nvSpPr>
        <p:spPr>
          <a:xfrm>
            <a:off x="990096" y="977900"/>
            <a:ext cx="6539558" cy="3327734"/>
          </a:xfrm>
        </p:spPr>
        <p:txBody>
          <a:bodyPr anchor="b">
            <a:normAutofit/>
          </a:bodyPr>
          <a:lstStyle/>
          <a:p>
            <a:r>
              <a:rPr lang="en-US" sz="5400" dirty="0"/>
              <a:t>Federal funding &amp; Massachusetts</a:t>
            </a:r>
            <a:br>
              <a:rPr lang="en-US" sz="5400" dirty="0"/>
            </a:br>
            <a:r>
              <a:rPr lang="en-US" sz="4000" b="1" dirty="0"/>
              <a:t>A Better City conversation</a:t>
            </a:r>
            <a:endParaRPr lang="en-US" sz="5400" b="1" dirty="0"/>
          </a:p>
        </p:txBody>
      </p:sp>
      <p:sp>
        <p:nvSpPr>
          <p:cNvPr id="3" name="Subtitle 2">
            <a:extLst>
              <a:ext uri="{FF2B5EF4-FFF2-40B4-BE49-F238E27FC236}">
                <a16:creationId xmlns:a16="http://schemas.microsoft.com/office/drawing/2014/main" id="{6BF96C16-BDB2-15EE-4778-FA5D2DB3A873}"/>
              </a:ext>
            </a:extLst>
          </p:cNvPr>
          <p:cNvSpPr>
            <a:spLocks noGrp="1"/>
          </p:cNvSpPr>
          <p:nvPr>
            <p:ph type="subTitle" idx="1"/>
          </p:nvPr>
        </p:nvSpPr>
        <p:spPr>
          <a:xfrm>
            <a:off x="787620" y="4613518"/>
            <a:ext cx="6847618" cy="1225028"/>
          </a:xfrm>
        </p:spPr>
        <p:txBody>
          <a:bodyPr anchor="t">
            <a:normAutofit/>
          </a:bodyPr>
          <a:lstStyle/>
          <a:p>
            <a:pPr algn="r"/>
            <a:r>
              <a:rPr lang="en-US" sz="2000" dirty="0"/>
              <a:t>Quentin Palfrey, Director, Federal Funds and Infrastructure Office </a:t>
            </a:r>
          </a:p>
          <a:p>
            <a:pPr algn="r"/>
            <a:r>
              <a:rPr lang="en-US" sz="2000" dirty="0"/>
              <a:t>March 31, 2025</a:t>
            </a:r>
          </a:p>
        </p:txBody>
      </p:sp>
      <p:cxnSp>
        <p:nvCxnSpPr>
          <p:cNvPr id="37" name="Straight Connector 36">
            <a:extLst>
              <a:ext uri="{FF2B5EF4-FFF2-40B4-BE49-F238E27FC236}">
                <a16:creationId xmlns:a16="http://schemas.microsoft.com/office/drawing/2014/main" id="{51B042EF-3024-4C57-B282-1B30607FB7C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158680" y="4476657"/>
            <a:ext cx="5370974" cy="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EA0B4097-B645-43E0-A2B5-B8D688E7459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484632"/>
            <a:ext cx="3584224" cy="58809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706473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24" name="Rectangle 23">
            <a:extLst>
              <a:ext uri="{FF2B5EF4-FFF2-40B4-BE49-F238E27FC236}">
                <a16:creationId xmlns:a16="http://schemas.microsoft.com/office/drawing/2014/main" id="{23C29CE1-614F-8685-04FE-0C62134261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ADB627A5-C098-58C9-7569-1A5AC8AF31C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9173BB5-8D65-AF38-334C-B9633F79CA0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8816B0C4-5684-A854-4A99-0BCA2A006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Federal Matching Funds Legislation</a:t>
            </a:r>
          </a:p>
        </p:txBody>
      </p:sp>
      <p:sp>
        <p:nvSpPr>
          <p:cNvPr id="32" name="Rectangle 31">
            <a:extLst>
              <a:ext uri="{FF2B5EF4-FFF2-40B4-BE49-F238E27FC236}">
                <a16:creationId xmlns:a16="http://schemas.microsoft.com/office/drawing/2014/main" id="{BFDFA2E9-B1BE-77B7-B8D7-06E6F05596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6935787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match legislation </a:t>
            </a: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892386" y="735955"/>
            <a:ext cx="6918613"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Matching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Unlock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750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matching funds for federal program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Eligible entities, including RPA’s can now apply for match via the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FIO Match Request Form</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arn more on the new </a:t>
            </a:r>
            <a:r>
              <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hlinkClick r:id="rId3">
                  <a:extLst>
                    <a:ext uri="{A12FA001-AC4F-418D-AE19-62706E023703}">
                      <ahyp:hlinkClr xmlns:ahyp="http://schemas.microsoft.com/office/drawing/2018/hyperlinkcolor" val="tx"/>
                    </a:ext>
                  </a:extLst>
                </a:hlinkClick>
              </a:rPr>
              <a:t>Massachusetts Matching Funds Website</a:t>
            </a:r>
            <a:endParaRPr kumimoji="0" lang="en-US" sz="1800" b="0" i="0" u="none" strike="noStrike" kern="1200" cap="none" spc="0" normalizeH="0" baseline="0" noProof="0">
              <a:ln>
                <a:noFill/>
              </a:ln>
              <a:solidFill>
                <a:srgbClr val="1CADE4"/>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Other Financi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Allocates up</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to </a:t>
            </a:r>
            <a:r>
              <a:rPr kumimoji="0" lang="en-US" sz="1800" b="1" i="0" u="none" strike="noStrike" kern="1200" cap="none" spc="0" normalizeH="0" baseline="0" noProof="0">
                <a:ln>
                  <a:noFill/>
                </a:ln>
                <a:solidFill>
                  <a:prstClr val="black"/>
                </a:solidFill>
                <a:effectLst/>
                <a:uLnTx/>
                <a:uFillTx/>
                <a:latin typeface="TW Cen MT"/>
                <a:ea typeface="+mn-ea"/>
                <a:cs typeface="Times New Roman"/>
              </a:rPr>
              <a:t>$50M</a:t>
            </a:r>
            <a:r>
              <a:rPr kumimoji="0" lang="en-US" sz="1800" b="0" i="0" u="none" strike="noStrike" kern="1200" cap="none" spc="0" normalizeH="0" baseline="0" noProof="0">
                <a:ln>
                  <a:noFill/>
                </a:ln>
                <a:solidFill>
                  <a:prstClr val="black"/>
                </a:solidFill>
                <a:effectLst/>
                <a:uLnTx/>
                <a:uFillTx/>
                <a:latin typeface="TW Cen MT"/>
                <a:ea typeface="+mn-ea"/>
                <a:cs typeface="Times New Roman"/>
              </a:rPr>
              <a:t> in the form of grants, loans, or other financial assistance, which may be directed to municipalities.</a:t>
            </a:r>
            <a:r>
              <a:rPr kumimoji="0" lang="en-US" sz="1800" b="0" i="0" u="none" strike="noStrike" kern="1200" cap="none" spc="0" normalizeH="0" baseline="0" noProof="0">
                <a:ln>
                  <a:noFill/>
                </a:ln>
                <a:solidFill>
                  <a:prstClr val="black"/>
                </a:solidFill>
                <a:effectLst/>
                <a:uLnTx/>
                <a:uFillTx/>
                <a:latin typeface="TW Cen MT"/>
                <a:ea typeface="+mn-ea"/>
                <a:cs typeface="+mn-cs"/>
              </a:rPr>
              <a:t> </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a:ea typeface="+mn-ea"/>
                <a:cs typeface="+mn-cs"/>
              </a:rPr>
              <a:t>Explore providing start-up capital for Direct Pay-eligible projects, etc.</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a:ln>
                  <a:noFill/>
                </a:ln>
                <a:solidFill>
                  <a:prstClr val="black"/>
                </a:solidFill>
                <a:effectLst/>
                <a:uLnTx/>
                <a:uFillTx/>
                <a:latin typeface="Tw Cen MT" panose="020B0602020104020603"/>
                <a:ea typeface="+mn-ea"/>
                <a:cs typeface="+mn-cs"/>
              </a:rPr>
              <a:t>Technical Assistance for Municipalitie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Allocates up to </a:t>
            </a:r>
            <a:r>
              <a:rPr kumimoji="0" lang="en-US" sz="1800" b="1" i="0" u="none" strike="noStrike" kern="1200" cap="none" spc="0" normalizeH="0" baseline="0" noProof="0">
                <a:ln>
                  <a:noFill/>
                </a:ln>
                <a:solidFill>
                  <a:prstClr val="black"/>
                </a:solidFill>
                <a:effectLst/>
                <a:uLnTx/>
                <a:uFillTx/>
                <a:latin typeface="Tw Cen MT" panose="020B0602020104020603"/>
                <a:ea typeface="+mn-ea"/>
                <a:cs typeface="+mn-cs"/>
              </a:rPr>
              <a:t>$12M</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technical support to </a:t>
            </a:r>
            <a:r>
              <a:rPr kumimoji="0" lang="en-US" sz="1800" b="0" i="0" u="none" strike="noStrike" kern="1200" cap="none" spc="0" normalizeH="0" baseline="0" noProof="0" err="1">
                <a:ln>
                  <a:noFill/>
                </a:ln>
                <a:solidFill>
                  <a:prstClr val="black"/>
                </a:solidFill>
                <a:effectLst/>
                <a:uLnTx/>
                <a:uFillTx/>
                <a:latin typeface="Tw Cen MT" panose="020B0602020104020603"/>
                <a:ea typeface="+mn-ea"/>
                <a:cs typeface="+mn-cs"/>
              </a:rPr>
              <a:t>munis</a:t>
            </a: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 for grant application development and implementation assistance for successful awar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Leverage existing municipal outreach (partnership meetings, upcoming community tour, etc.) to understand municipal nee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423385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207F9AB2-349C-03F4-FEE1-7D3074469279}"/>
            </a:ext>
          </a:extLst>
        </p:cNvPr>
        <p:cNvGrpSpPr/>
        <p:nvPr/>
      </p:nvGrpSpPr>
      <p:grpSpPr>
        <a:xfrm>
          <a:off x="0" y="0"/>
          <a:ext cx="0" cy="0"/>
          <a:chOff x="0" y="0"/>
          <a:chExt cx="0" cy="0"/>
        </a:xfrm>
      </p:grpSpPr>
      <p:sp>
        <p:nvSpPr>
          <p:cNvPr id="1031" name="Rectangle 1030">
            <a:extLst>
              <a:ext uri="{FF2B5EF4-FFF2-40B4-BE49-F238E27FC236}">
                <a16:creationId xmlns:a16="http://schemas.microsoft.com/office/drawing/2014/main" id="{8CD2B798-7994-4548-A2BE-4AEF9C1A5FA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sp>
        <p:nvSpPr>
          <p:cNvPr id="1033" name="Oval 5">
            <a:extLst>
              <a:ext uri="{FF2B5EF4-FFF2-40B4-BE49-F238E27FC236}">
                <a16:creationId xmlns:a16="http://schemas.microsoft.com/office/drawing/2014/main" id="{E6162320-3B67-42BB-AF9D-939326E648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a:p>
        </p:txBody>
      </p:sp>
      <p:cxnSp>
        <p:nvCxnSpPr>
          <p:cNvPr id="1035" name="Straight Connector 1034">
            <a:extLst>
              <a:ext uri="{FF2B5EF4-FFF2-40B4-BE49-F238E27FC236}">
                <a16:creationId xmlns:a16="http://schemas.microsoft.com/office/drawing/2014/main" id="{6722E143-84C1-4F95-937C-78B92D2811CF}"/>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037" name="Rectangle 1036">
            <a:extLst>
              <a:ext uri="{FF2B5EF4-FFF2-40B4-BE49-F238E27FC236}">
                <a16:creationId xmlns:a16="http://schemas.microsoft.com/office/drawing/2014/main" id="{2FDF0794-1B86-42B2-B8C7-F60123E638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4" y="0"/>
            <a:ext cx="12188726" cy="6858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a:extLst>
              <a:ext uri="{FF2B5EF4-FFF2-40B4-BE49-F238E27FC236}">
                <a16:creationId xmlns:a16="http://schemas.microsoft.com/office/drawing/2014/main" id="{8D5EB3D3-47C6-A1A7-79BC-00814722E92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3461" r="3461"/>
          <a:stretch/>
        </p:blipFill>
        <p:spPr bwMode="auto">
          <a:xfrm>
            <a:off x="20" y="975"/>
            <a:ext cx="1219198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39" name="Rectangle 1038">
            <a:extLst>
              <a:ext uri="{FF2B5EF4-FFF2-40B4-BE49-F238E27FC236}">
                <a16:creationId xmlns:a16="http://schemas.microsoft.com/office/drawing/2014/main" id="{C5373426-E26E-431D-959C-5DB96C0B62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467" y="1238442"/>
            <a:ext cx="3635926" cy="4355751"/>
          </a:xfrm>
          <a:prstGeom prst="rect">
            <a:avLst/>
          </a:prstGeom>
          <a:solidFill>
            <a:srgbClr val="000000">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E77BB09-A5C4-6B9C-C2BA-6385B50BF359}"/>
              </a:ext>
            </a:extLst>
          </p:cNvPr>
          <p:cNvSpPr>
            <a:spLocks noGrp="1"/>
          </p:cNvSpPr>
          <p:nvPr>
            <p:ph type="title"/>
          </p:nvPr>
        </p:nvSpPr>
        <p:spPr>
          <a:xfrm>
            <a:off x="853439" y="1475234"/>
            <a:ext cx="3214307" cy="2901694"/>
          </a:xfrm>
        </p:spPr>
        <p:txBody>
          <a:bodyPr vert="horz" lIns="91440" tIns="45720" rIns="91440" bIns="45720" rtlCol="0" anchor="b">
            <a:normAutofit/>
          </a:bodyPr>
          <a:lstStyle/>
          <a:p>
            <a:pPr algn="r"/>
            <a:r>
              <a:rPr lang="en-US" sz="4000" kern="1200" cap="all" spc="200" baseline="0">
                <a:solidFill>
                  <a:srgbClr val="FFFFFF"/>
                </a:solidFill>
                <a:latin typeface="+mj-lt"/>
                <a:ea typeface="+mj-ea"/>
                <a:cs typeface="+mj-cs"/>
              </a:rPr>
              <a:t>Project focus: </a:t>
            </a:r>
            <a:br>
              <a:rPr lang="en-US" sz="4000" kern="1200" cap="all" spc="200" baseline="0">
                <a:solidFill>
                  <a:srgbClr val="FFFFFF"/>
                </a:solidFill>
                <a:latin typeface="+mj-lt"/>
                <a:ea typeface="+mj-ea"/>
                <a:cs typeface="+mj-cs"/>
              </a:rPr>
            </a:br>
            <a:r>
              <a:rPr lang="en-US" sz="4000" kern="1200" cap="all" spc="200" baseline="0">
                <a:solidFill>
                  <a:srgbClr val="FFFFFF"/>
                </a:solidFill>
                <a:latin typeface="+mj-lt"/>
                <a:ea typeface="+mj-ea"/>
                <a:cs typeface="+mj-cs"/>
              </a:rPr>
              <a:t>Allston multimodal project</a:t>
            </a:r>
          </a:p>
        </p:txBody>
      </p:sp>
      <p:cxnSp>
        <p:nvCxnSpPr>
          <p:cNvPr id="1041" name="Straight Connector 1040">
            <a:extLst>
              <a:ext uri="{FF2B5EF4-FFF2-40B4-BE49-F238E27FC236}">
                <a16:creationId xmlns:a16="http://schemas.microsoft.com/office/drawing/2014/main" id="{96D07482-83A3-4451-943C-B4696108295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1065829" y="4508519"/>
            <a:ext cx="2926080" cy="0"/>
          </a:xfrm>
          <a:prstGeom prst="line">
            <a:avLst/>
          </a:prstGeom>
          <a:ln w="19050">
            <a:solidFill>
              <a:srgbClr val="1FBFE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8140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158559" y="643467"/>
            <a:ext cx="4229566"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rPr>
              <a:t>Project Focus: </a:t>
            </a:r>
          </a:p>
          <a:p>
            <a:pPr marL="0" marR="0" lvl="0" indent="0" algn="l" defTabSz="914400" rtl="0" eaLnBrk="1" fontAlgn="auto" latinLnBrk="0" hangingPunct="1">
              <a:lnSpc>
                <a:spcPct val="80000"/>
              </a:lnSpc>
              <a:spcBef>
                <a:spcPct val="0"/>
              </a:spcBef>
              <a:spcAft>
                <a:spcPts val="0"/>
              </a:spcAft>
              <a:buClrTx/>
              <a:buSzTx/>
              <a:buFontTx/>
              <a:buNone/>
              <a:tabLst/>
              <a:defRPr/>
            </a:pPr>
            <a:r>
              <a:rPr lang="en-US" dirty="0">
                <a:solidFill>
                  <a:srgbClr val="FFFFFF"/>
                </a:solidFill>
                <a:latin typeface="Tw Cen MT Condensed" panose="020B0606020104020203"/>
              </a:rPr>
              <a:t>Allston multimodal project</a:t>
            </a:r>
            <a:endPar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endParaRPr>
          </a:p>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5000" b="0" i="0" u="none" strike="noStrike" kern="1200" cap="all" spc="100" normalizeH="0" baseline="0" noProof="0" dirty="0">
              <a:ln>
                <a:noFill/>
              </a:ln>
              <a:solidFill>
                <a:srgbClr val="FFFFFF"/>
              </a:solidFill>
              <a:effectLst/>
              <a:uLnTx/>
              <a:uFillTx/>
              <a:latin typeface="Tw Cen MT Condensed" panose="020B0606020104020203"/>
              <a:ea typeface="+mj-ea"/>
              <a:cs typeface="+mj-cs"/>
            </a:endParaRPr>
          </a:p>
        </p:txBody>
      </p:sp>
      <p:sp>
        <p:nvSpPr>
          <p:cNvPr id="4" name="TextBox 3">
            <a:extLst>
              <a:ext uri="{FF2B5EF4-FFF2-40B4-BE49-F238E27FC236}">
                <a16:creationId xmlns:a16="http://schemas.microsoft.com/office/drawing/2014/main" id="{F5B4FF78-B142-84EA-0463-0190E96E2742}"/>
              </a:ext>
            </a:extLst>
          </p:cNvPr>
          <p:cNvSpPr txBox="1"/>
          <p:nvPr/>
        </p:nvSpPr>
        <p:spPr>
          <a:xfrm>
            <a:off x="4934961" y="371871"/>
            <a:ext cx="6976374" cy="53245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rPr>
              <a:t>Federal Funds</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prstClr val="black"/>
                </a:solidFill>
                <a:effectLst/>
                <a:uLnTx/>
                <a:uFillTx/>
                <a:latin typeface="Tw Cen MT" panose="020B0602020104020603"/>
                <a:ea typeface="+mn-ea"/>
                <a:cs typeface="+mn-cs"/>
              </a:rPr>
              <a:t>USDOT awarded $335 million through the Reconnecting Communities and Neighborhood Grant Program to replace the Allston Viaduct and create new and improved access to expanded waterfront parks and open space in Boston, as well awards for Haverhill, Lynn, Everett, Cambridge and Chelsea.</a:t>
            </a:r>
            <a:br>
              <a:rPr kumimoji="0" lang="en-US" sz="1800" b="0" i="0" u="none" strike="noStrike" kern="1200" cap="none" spc="0" normalizeH="0" baseline="0" noProof="0" dirty="0">
                <a:ln>
                  <a:noFill/>
                </a:ln>
                <a:solidFill>
                  <a:prstClr val="black"/>
                </a:solidFill>
                <a:effectLst/>
                <a:uLnTx/>
                <a:uFillTx/>
                <a:latin typeface="Tw Cen MT" panose="020B0602020104020603"/>
                <a:ea typeface="+mn-ea"/>
                <a:cs typeface="+mn-cs"/>
              </a:rPr>
            </a:br>
            <a:endParaRPr kumimoji="0" lang="en-US" sz="18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rPr>
              <a:t>Recent Developments</a:t>
            </a:r>
          </a:p>
          <a:p>
            <a:pPr marL="285750" indent="-285750" defTabSz="457200">
              <a:buFont typeface="Arial"/>
              <a:buChar char="•"/>
              <a:defRPr/>
            </a:pPr>
            <a:r>
              <a:rPr kumimoji="0" lang="en-US" sz="1800" b="0" i="0" u="none" strike="noStrike" kern="1200" cap="none" spc="0" normalizeH="0" baseline="0" noProof="0" dirty="0" err="1">
                <a:ln>
                  <a:noFill/>
                </a:ln>
                <a:solidFill>
                  <a:prstClr val="black"/>
                </a:solidFill>
                <a:effectLst/>
                <a:uLnTx/>
                <a:uFillTx/>
                <a:latin typeface="TW Cen MT"/>
                <a:ea typeface="+mn-ea"/>
                <a:cs typeface="+mn-cs"/>
              </a:rPr>
              <a:t>MassDOT</a:t>
            </a:r>
            <a:r>
              <a:rPr kumimoji="0" lang="en-US" sz="1800" b="0" i="0" u="none" strike="noStrike" kern="1200" cap="none" spc="0" normalizeH="0" baseline="0" noProof="0" dirty="0">
                <a:ln>
                  <a:noFill/>
                </a:ln>
                <a:solidFill>
                  <a:prstClr val="black"/>
                </a:solidFill>
                <a:effectLst/>
                <a:uLnTx/>
                <a:uFillTx/>
                <a:latin typeface="TW Cen MT"/>
                <a:ea typeface="+mn-ea"/>
                <a:cs typeface="+mn-cs"/>
              </a:rPr>
              <a:t> announced a monthly schedule of task force meetings, as well as the hiring of a meeting facilitator.</a:t>
            </a:r>
          </a:p>
          <a:p>
            <a:pPr marL="285750" marR="0" lvl="0" indent="-285750" algn="l" defTabSz="4572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dirty="0">
                <a:ln>
                  <a:noFill/>
                </a:ln>
                <a:solidFill>
                  <a:prstClr val="black"/>
                </a:solidFill>
                <a:effectLst/>
                <a:uLnTx/>
                <a:uFillTx/>
                <a:latin typeface="TW Cen MT"/>
                <a:ea typeface="+mn-ea"/>
                <a:cs typeface="+mn-cs"/>
              </a:rPr>
              <a:t>March 12 Allston Task Force Meeting for layover analysis (now posted on the project website). </a:t>
            </a:r>
          </a:p>
          <a:p>
            <a:pPr marL="285750" indent="-285750" defTabSz="457200">
              <a:buFont typeface="Arial"/>
              <a:buChar char="•"/>
              <a:defRPr/>
            </a:pPr>
            <a:r>
              <a:rPr lang="en-US" dirty="0" err="1">
                <a:solidFill>
                  <a:prstClr val="black"/>
                </a:solidFill>
                <a:latin typeface="TW Cen MT"/>
              </a:rPr>
              <a:t>MassDOT</a:t>
            </a:r>
            <a:r>
              <a:rPr lang="en-US" dirty="0">
                <a:solidFill>
                  <a:prstClr val="black"/>
                </a:solidFill>
                <a:latin typeface="TW Cen MT"/>
              </a:rPr>
              <a:t> and MBTA continuing to discuss the layover analysis with other relevant stakeholders. </a:t>
            </a:r>
          </a:p>
          <a:p>
            <a:pPr marL="285750" indent="-285750" defTabSz="457200">
              <a:buFont typeface="Arial"/>
              <a:buChar char="•"/>
              <a:defRPr/>
            </a:pPr>
            <a:r>
              <a:rPr lang="en-IN" dirty="0">
                <a:solidFill>
                  <a:prstClr val="black"/>
                </a:solidFill>
                <a:latin typeface="TW Cen MT"/>
              </a:rPr>
              <a:t>Agencies are continuing to assess A Better City’s proposal for an alternative construction approach to the Grand Junction Bridge closure. </a:t>
            </a:r>
            <a:br>
              <a:rPr lang="en-IN" dirty="0">
                <a:solidFill>
                  <a:prstClr val="black"/>
                </a:solidFill>
                <a:latin typeface="TW Cen MT"/>
              </a:rPr>
            </a:br>
            <a:endParaRPr kumimoji="0" lang="en-US" sz="22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Tw Cen MT" panose="020B0602020104020603"/>
                <a:ea typeface="+mn-ea"/>
                <a:cs typeface="+mn-cs"/>
              </a:rPr>
              <a:t>Next Steps &amp; Way Forward</a:t>
            </a:r>
          </a:p>
        </p:txBody>
      </p:sp>
    </p:spTree>
    <p:extLst>
      <p:ext uri="{BB962C8B-B14F-4D97-AF65-F5344CB8AC3E}">
        <p14:creationId xmlns:p14="http://schemas.microsoft.com/office/powerpoint/2010/main" val="13265971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B0890400-BB8B-4A44-AB63-65C7CA223E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60455" y="804333"/>
            <a:ext cx="4356688" cy="5249334"/>
          </a:xfrm>
        </p:spPr>
        <p:txBody>
          <a:bodyPr vert="horz" lIns="91440" tIns="45720" rIns="91440" bIns="45720" rtlCol="0" anchor="ctr">
            <a:normAutofit/>
          </a:bodyPr>
          <a:lstStyle/>
          <a:p>
            <a:pPr algn="ctr"/>
            <a:r>
              <a:rPr lang="en-US" sz="7200" dirty="0"/>
              <a:t>Thank you!</a:t>
            </a:r>
            <a:endParaRPr lang="en-US" sz="2000" dirty="0"/>
          </a:p>
        </p:txBody>
      </p:sp>
      <p:cxnSp>
        <p:nvCxnSpPr>
          <p:cNvPr id="32" name="Straight Connector 31">
            <a:extLst>
              <a:ext uri="{FF2B5EF4-FFF2-40B4-BE49-F238E27FC236}">
                <a16:creationId xmlns:a16="http://schemas.microsoft.com/office/drawing/2014/main" id="{4D39B797-CDC6-4529-8A36-9CBFC98163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77597" y="1600200"/>
            <a:ext cx="0" cy="36576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7BD17A5-BA15-A055-8A50-B87A35D919F0}"/>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marL="0" marR="0" lvl="0" indent="0" algn="ctr" defTabSz="914400" rtl="0" eaLnBrk="1" fontAlgn="auto" latinLnBrk="0" hangingPunct="1">
              <a:lnSpc>
                <a:spcPct val="90000"/>
              </a:lnSpc>
              <a:spcBef>
                <a:spcPts val="0"/>
              </a:spcBef>
              <a:spcAft>
                <a:spcPts val="600"/>
              </a:spcAft>
              <a:buClr>
                <a:srgbClr val="1CADE4"/>
              </a:buClr>
              <a:buSzTx/>
              <a:buFontTx/>
              <a:buNone/>
              <a:tabLst/>
              <a:defRPr/>
            </a:pPr>
            <a:r>
              <a:rPr kumimoji="0" lang="en-US" sz="2200" b="0" i="0" u="none" strike="noStrike" kern="1200" cap="none" spc="0" normalizeH="0" baseline="0" noProof="0" dirty="0">
                <a:ln>
                  <a:noFill/>
                </a:ln>
                <a:solidFill>
                  <a:prstClr val="black"/>
                </a:solidFill>
                <a:effectLst/>
                <a:uLnTx/>
                <a:uFillTx/>
                <a:latin typeface="Tw Cen MT" panose="020B0602020104020603"/>
                <a:ea typeface="+mn-ea"/>
                <a:cs typeface="+mn-cs"/>
              </a:rPr>
              <a:t>If we are unable to get to your question today, please send it to us at </a:t>
            </a:r>
            <a:r>
              <a:rPr kumimoji="0" lang="en-US" sz="2200" b="0" i="0" u="none" strike="noStrike" kern="1200" cap="none" spc="0" normalizeH="0" baseline="0" noProof="0" dirty="0">
                <a:ln>
                  <a:noFill/>
                </a:ln>
                <a:solidFill>
                  <a:srgbClr val="0070C0"/>
                </a:solidFill>
                <a:effectLst/>
                <a:uLnTx/>
                <a:uFillTx/>
                <a:latin typeface="Tw Cen MT" panose="020B0602020104020603"/>
                <a:ea typeface="+mn-ea"/>
                <a:cs typeface="+mn-cs"/>
                <a:hlinkClick r:id="rId2">
                  <a:extLst>
                    <a:ext uri="{A12FA001-AC4F-418D-AE19-62706E023703}">
                      <ahyp:hlinkClr xmlns:ahyp="http://schemas.microsoft.com/office/drawing/2018/hyperlinkcolor" val="tx"/>
                    </a:ext>
                  </a:extLst>
                </a:hlinkClick>
              </a:rPr>
              <a:t>FedFundsInfra@mass.gov</a:t>
            </a:r>
            <a:r>
              <a:rPr kumimoji="0" lang="en-US" sz="2200" b="0" i="0" u="none" strike="noStrike" kern="1200" cap="none" spc="0" normalizeH="0" baseline="0" noProof="0" dirty="0">
                <a:ln>
                  <a:noFill/>
                </a:ln>
                <a:solidFill>
                  <a:srgbClr val="0070C0"/>
                </a:solidFill>
                <a:effectLst/>
                <a:uLnTx/>
                <a:uFillTx/>
                <a:latin typeface="Tw Cen MT" panose="020B0602020104020603"/>
                <a:ea typeface="+mn-ea"/>
                <a:cs typeface="+mn-cs"/>
              </a:rPr>
              <a:t>.</a:t>
            </a:r>
          </a:p>
        </p:txBody>
      </p:sp>
    </p:spTree>
    <p:extLst>
      <p:ext uri="{BB962C8B-B14F-4D97-AF65-F5344CB8AC3E}">
        <p14:creationId xmlns:p14="http://schemas.microsoft.com/office/powerpoint/2010/main" val="21348165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7C586B0-AF86-A515-AEE0-C8269027D96C}"/>
              </a:ext>
            </a:extLst>
          </p:cNvPr>
          <p:cNvSpPr>
            <a:spLocks noGrp="1"/>
          </p:cNvSpPr>
          <p:nvPr>
            <p:ph type="title"/>
          </p:nvPr>
        </p:nvSpPr>
        <p:spPr>
          <a:xfrm>
            <a:off x="643468" y="643467"/>
            <a:ext cx="3415612" cy="5571066"/>
          </a:xfrm>
        </p:spPr>
        <p:txBody>
          <a:bodyPr>
            <a:normAutofit/>
          </a:bodyPr>
          <a:lstStyle/>
          <a:p>
            <a:r>
              <a:rPr lang="en-US">
                <a:solidFill>
                  <a:srgbClr val="FFFFFF"/>
                </a:solidFill>
              </a:rPr>
              <a:t>Agenda</a:t>
            </a:r>
          </a:p>
        </p:txBody>
      </p:sp>
      <p:graphicFrame>
        <p:nvGraphicFramePr>
          <p:cNvPr id="29" name="Content Placeholder 2">
            <a:extLst>
              <a:ext uri="{FF2B5EF4-FFF2-40B4-BE49-F238E27FC236}">
                <a16:creationId xmlns:a16="http://schemas.microsoft.com/office/drawing/2014/main" id="{F5F048D3-AC4C-069A-4300-73B345439867}"/>
              </a:ext>
            </a:extLst>
          </p:cNvPr>
          <p:cNvGraphicFramePr>
            <a:graphicFrameLocks noGrp="1"/>
          </p:cNvGraphicFramePr>
          <p:nvPr>
            <p:ph idx="1"/>
            <p:extLst>
              <p:ext uri="{D42A27DB-BD31-4B8C-83A1-F6EECF244321}">
                <p14:modId xmlns:p14="http://schemas.microsoft.com/office/powerpoint/2010/main" val="3895681575"/>
              </p:ext>
            </p:extLst>
          </p:nvPr>
        </p:nvGraphicFramePr>
        <p:xfrm>
          <a:off x="4945224" y="403702"/>
          <a:ext cx="6960637" cy="605059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traight Connector 2">
            <a:extLst>
              <a:ext uri="{FF2B5EF4-FFF2-40B4-BE49-F238E27FC236}">
                <a16:creationId xmlns:a16="http://schemas.microsoft.com/office/drawing/2014/main" id="{FEBF2361-8D2F-9A19-335F-47292F0D417E}"/>
              </a:ext>
            </a:extLst>
          </p:cNvPr>
          <p:cNvSpPr/>
          <p:nvPr/>
        </p:nvSpPr>
        <p:spPr>
          <a:xfrm>
            <a:off x="5594148" y="6214533"/>
            <a:ext cx="5641974" cy="0"/>
          </a:xfrm>
          <a:prstGeom prst="line">
            <a:avLst/>
          </a:prstGeom>
        </p:spPr>
        <p:style>
          <a:lnRef idx="2">
            <a:schemeClr val="accent2">
              <a:hueOff val="-1323373"/>
              <a:satOff val="1492"/>
              <a:lumOff val="3530"/>
              <a:alphaOff val="0"/>
            </a:schemeClr>
          </a:lnRef>
          <a:fillRef idx="1">
            <a:schemeClr val="accent2">
              <a:hueOff val="-1323373"/>
              <a:satOff val="1492"/>
              <a:lumOff val="3530"/>
              <a:alphaOff val="0"/>
            </a:schemeClr>
          </a:fillRef>
          <a:effectRef idx="0">
            <a:schemeClr val="accent2">
              <a:hueOff val="-1323373"/>
              <a:satOff val="1492"/>
              <a:lumOff val="3530"/>
              <a:alphaOff val="0"/>
            </a:schemeClr>
          </a:effectRef>
          <a:fontRef idx="minor">
            <a:schemeClr val="lt1"/>
          </a:fontRef>
        </p:style>
        <p:txBody>
          <a:bodyPr/>
          <a:lstStyle/>
          <a:p>
            <a:endParaRPr lang="en-US"/>
          </a:p>
        </p:txBody>
      </p:sp>
    </p:spTree>
    <p:extLst>
      <p:ext uri="{BB962C8B-B14F-4D97-AF65-F5344CB8AC3E}">
        <p14:creationId xmlns:p14="http://schemas.microsoft.com/office/powerpoint/2010/main" val="25680105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7422F06-6017-4361-8872-E0E2CEB20B4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48199"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643468" y="643467"/>
            <a:ext cx="3415612" cy="5571066"/>
          </a:xfrm>
        </p:spPr>
        <p:txBody>
          <a:bodyPr>
            <a:normAutofit/>
          </a:bodyPr>
          <a:lstStyle/>
          <a:p>
            <a:r>
              <a:rPr lang="en-US" sz="4800">
                <a:solidFill>
                  <a:srgbClr val="FFFFFF"/>
                </a:solidFill>
              </a:rPr>
              <a:t>About the Federal Funds and Infrastructure Office (FFIO)</a:t>
            </a:r>
          </a:p>
        </p:txBody>
      </p:sp>
      <p:graphicFrame>
        <p:nvGraphicFramePr>
          <p:cNvPr id="5" name="Content Placeholder 2">
            <a:extLst>
              <a:ext uri="{FF2B5EF4-FFF2-40B4-BE49-F238E27FC236}">
                <a16:creationId xmlns:a16="http://schemas.microsoft.com/office/drawing/2014/main" id="{F2B637B5-D00B-A557-6589-7B39E41260D0}"/>
              </a:ext>
            </a:extLst>
          </p:cNvPr>
          <p:cNvGraphicFramePr>
            <a:graphicFrameLocks noGrp="1"/>
          </p:cNvGraphicFramePr>
          <p:nvPr>
            <p:ph idx="1"/>
          </p:nvPr>
        </p:nvGraphicFramePr>
        <p:xfrm>
          <a:off x="4837502" y="1245140"/>
          <a:ext cx="7243018" cy="54669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07BD17A5-BA15-A055-8A50-B87A35D919F0}"/>
              </a:ext>
            </a:extLst>
          </p:cNvPr>
          <p:cNvSpPr txBox="1"/>
          <p:nvPr/>
        </p:nvSpPr>
        <p:spPr>
          <a:xfrm>
            <a:off x="5068112" y="214009"/>
            <a:ext cx="6781798" cy="923330"/>
          </a:xfrm>
          <a:prstGeom prst="rect">
            <a:avLst/>
          </a:prstGeom>
          <a:noFill/>
        </p:spPr>
        <p:txBody>
          <a:bodyPr wrap="square" rtlCol="0">
            <a:spAutoFit/>
          </a:bodyPr>
          <a:lstStyle/>
          <a:p>
            <a:pPr marL="0" marR="0" lvl="0" indent="0" algn="ctr" defTabSz="256032" rtl="0" eaLnBrk="1" fontAlgn="auto" latinLnBrk="0" hangingPunct="1">
              <a:lnSpc>
                <a:spcPct val="100000"/>
              </a:lnSpc>
              <a:spcBef>
                <a:spcPts val="0"/>
              </a:spcBef>
              <a:spcAft>
                <a:spcPts val="60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Officially created by Executive Order No. 624, and tasked with implementing a whole-of-government to compete for federal funding by:</a:t>
            </a:r>
          </a:p>
        </p:txBody>
      </p:sp>
    </p:spTree>
    <p:extLst>
      <p:ext uri="{BB962C8B-B14F-4D97-AF65-F5344CB8AC3E}">
        <p14:creationId xmlns:p14="http://schemas.microsoft.com/office/powerpoint/2010/main" val="38802365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0" name="Rectangle 29">
            <a:extLst>
              <a:ext uri="{FF2B5EF4-FFF2-40B4-BE49-F238E27FC236}">
                <a16:creationId xmlns:a16="http://schemas.microsoft.com/office/drawing/2014/main" id="{B0890400-BB8B-4A44-AB63-65C7CA223EB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64205487-8A0D-96A9-56C4-56A210D08DB5}"/>
              </a:ext>
            </a:extLst>
          </p:cNvPr>
          <p:cNvSpPr>
            <a:spLocks noGrp="1"/>
          </p:cNvSpPr>
          <p:nvPr>
            <p:ph type="title"/>
          </p:nvPr>
        </p:nvSpPr>
        <p:spPr>
          <a:xfrm>
            <a:off x="1" y="804333"/>
            <a:ext cx="4356688" cy="5249334"/>
          </a:xfrm>
        </p:spPr>
        <p:txBody>
          <a:bodyPr vert="horz" lIns="91440" tIns="45720" rIns="91440" bIns="45720" rtlCol="0" anchor="ctr">
            <a:normAutofit/>
          </a:bodyPr>
          <a:lstStyle/>
          <a:p>
            <a:pPr algn="ctr"/>
            <a:r>
              <a:rPr lang="en-US" sz="5400" dirty="0"/>
              <a:t>Federal outlook and </a:t>
            </a:r>
            <a:br>
              <a:rPr lang="en-US" sz="5400" dirty="0"/>
            </a:br>
            <a:r>
              <a:rPr lang="en-US" sz="5400" dirty="0"/>
              <a:t>strategies for competitiveness</a:t>
            </a:r>
            <a:endParaRPr lang="en-US" sz="1400" dirty="0"/>
          </a:p>
        </p:txBody>
      </p:sp>
      <p:cxnSp>
        <p:nvCxnSpPr>
          <p:cNvPr id="32" name="Straight Connector 31">
            <a:extLst>
              <a:ext uri="{FF2B5EF4-FFF2-40B4-BE49-F238E27FC236}">
                <a16:creationId xmlns:a16="http://schemas.microsoft.com/office/drawing/2014/main" id="{4D39B797-CDC6-4529-8A36-9CBFC981633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4677597" y="1600200"/>
            <a:ext cx="0" cy="365760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07BD17A5-BA15-A055-8A50-B87A35D919F0}"/>
              </a:ext>
            </a:extLst>
          </p:cNvPr>
          <p:cNvSpPr txBox="1"/>
          <p:nvPr/>
        </p:nvSpPr>
        <p:spPr>
          <a:xfrm>
            <a:off x="5417617" y="804333"/>
            <a:ext cx="6257721" cy="5249334"/>
          </a:xfrm>
          <a:prstGeom prst="rect">
            <a:avLst/>
          </a:prstGeom>
        </p:spPr>
        <p:txBody>
          <a:bodyPr vert="horz" lIns="45720" tIns="45720" rIns="45720" bIns="45720" rtlCol="0" anchor="ctr">
            <a:normAutofit/>
          </a:bodyPr>
          <a:lstStyle/>
          <a:p>
            <a:pPr marL="457200" marR="0" lvl="0" indent="-457200" algn="l" defTabSz="914400" rtl="0" eaLnBrk="1" fontAlgn="auto" latinLnBrk="0" hangingPunct="1">
              <a:lnSpc>
                <a:spcPct val="90000"/>
              </a:lnSpc>
              <a:spcBef>
                <a:spcPts val="0"/>
              </a:spcBef>
              <a:spcAft>
                <a:spcPts val="600"/>
              </a:spcAft>
              <a:buClrTx/>
              <a:buSzTx/>
              <a:buFont typeface="Arial"/>
              <a:buChar char="•"/>
              <a:tabLst/>
              <a:defRPr/>
            </a:pPr>
            <a:r>
              <a:rPr kumimoji="0" lang="en-US" sz="2800" b="0" i="1" u="none" strike="noStrike" kern="1200" cap="none" spc="0" normalizeH="0" baseline="0" noProof="0">
                <a:ln>
                  <a:noFill/>
                </a:ln>
                <a:solidFill>
                  <a:prstClr val="black"/>
                </a:solidFill>
                <a:effectLst/>
                <a:uLnTx/>
                <a:uFillTx/>
                <a:latin typeface="Tw Cen MT" panose="020B0602020104020603"/>
                <a:ea typeface="+mn-ea"/>
                <a:cs typeface="+mn-cs"/>
              </a:rPr>
              <a:t>Evolving federal funds landscape</a:t>
            </a:r>
            <a:endPar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8540422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dirty="0"/>
              <a:t>FFIO’s strategies for ensuring competitiveness</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3090884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BE194971-2F2D-44B0-8AE6-FF2DCCEE0A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457200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6" name="Oval 5">
            <a:extLst>
              <a:ext uri="{FF2B5EF4-FFF2-40B4-BE49-F238E27FC236}">
                <a16:creationId xmlns:a16="http://schemas.microsoft.com/office/drawing/2014/main" id="{1FF9A61E-EB11-4C46-82E1-3E00A3B4B4D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92000" cy="4572001"/>
          </a:xfrm>
          <a:custGeom>
            <a:avLst/>
            <a:gdLst/>
            <a:ahLst/>
            <a:cxnLst/>
            <a:rect l="l" t="t" r="r" b="b"/>
            <a:pathLst>
              <a:path w="12192000" h="4572001">
                <a:moveTo>
                  <a:pt x="12192000" y="4387986"/>
                </a:moveTo>
                <a:lnTo>
                  <a:pt x="12192000" y="4572001"/>
                </a:lnTo>
                <a:lnTo>
                  <a:pt x="12013927" y="4572001"/>
                </a:lnTo>
                <a:cubicBezTo>
                  <a:pt x="12084901" y="4522707"/>
                  <a:pt x="12145198" y="4460004"/>
                  <a:pt x="12192000" y="4387986"/>
                </a:cubicBezTo>
                <a:close/>
                <a:moveTo>
                  <a:pt x="12192000" y="4041440"/>
                </a:moveTo>
                <a:lnTo>
                  <a:pt x="12192000" y="4174488"/>
                </a:lnTo>
                <a:cubicBezTo>
                  <a:pt x="12005469" y="4244657"/>
                  <a:pt x="11857227" y="4389538"/>
                  <a:pt x="11786673" y="4572001"/>
                </a:cubicBezTo>
                <a:lnTo>
                  <a:pt x="11649784" y="4572001"/>
                </a:lnTo>
                <a:cubicBezTo>
                  <a:pt x="11730542" y="4320085"/>
                  <a:pt x="11933879" y="4121396"/>
                  <a:pt x="12192000" y="4041440"/>
                </a:cubicBezTo>
                <a:close/>
                <a:moveTo>
                  <a:pt x="10767111" y="3999419"/>
                </a:moveTo>
                <a:lnTo>
                  <a:pt x="10784198" y="4001042"/>
                </a:lnTo>
                <a:cubicBezTo>
                  <a:pt x="10816584" y="4001569"/>
                  <a:pt x="10848477" y="4004550"/>
                  <a:pt x="10879660" y="4010107"/>
                </a:cubicBezTo>
                <a:cubicBezTo>
                  <a:pt x="10885236" y="4009688"/>
                  <a:pt x="10890564" y="4010636"/>
                  <a:pt x="10895873" y="4011646"/>
                </a:cubicBezTo>
                <a:lnTo>
                  <a:pt x="10895990" y="4012794"/>
                </a:lnTo>
                <a:cubicBezTo>
                  <a:pt x="11208069" y="4064450"/>
                  <a:pt x="11461298" y="4283539"/>
                  <a:pt x="11554662" y="4572001"/>
                </a:cubicBezTo>
                <a:lnTo>
                  <a:pt x="11417114" y="4572001"/>
                </a:lnTo>
                <a:cubicBezTo>
                  <a:pt x="11333731" y="4357380"/>
                  <a:pt x="11143362" y="4194541"/>
                  <a:pt x="10909360" y="4144250"/>
                </a:cubicBezTo>
                <a:cubicBezTo>
                  <a:pt x="10943854" y="4319651"/>
                  <a:pt x="11046077" y="4471530"/>
                  <a:pt x="11189175" y="4572001"/>
                </a:cubicBezTo>
                <a:lnTo>
                  <a:pt x="10994934" y="4572001"/>
                </a:lnTo>
                <a:cubicBezTo>
                  <a:pt x="10878802" y="4452596"/>
                  <a:pt x="10800240" y="4298519"/>
                  <a:pt x="10775875" y="4127511"/>
                </a:cubicBezTo>
                <a:cubicBezTo>
                  <a:pt x="10775707" y="4127458"/>
                  <a:pt x="10775539" y="4127453"/>
                  <a:pt x="10775369" y="4127448"/>
                </a:cubicBezTo>
                <a:lnTo>
                  <a:pt x="10774831" y="4120772"/>
                </a:lnTo>
                <a:cubicBezTo>
                  <a:pt x="10769772" y="4090522"/>
                  <a:pt x="10767321" y="4059631"/>
                  <a:pt x="10767364" y="4028296"/>
                </a:cubicBezTo>
                <a:cubicBezTo>
                  <a:pt x="10766052" y="4022668"/>
                  <a:pt x="10765993" y="4017001"/>
                  <a:pt x="10765993" y="4011320"/>
                </a:cubicBezTo>
                <a:lnTo>
                  <a:pt x="10766587" y="3999880"/>
                </a:lnTo>
                <a:lnTo>
                  <a:pt x="10767085" y="3999913"/>
                </a:lnTo>
                <a:close/>
                <a:moveTo>
                  <a:pt x="10744358" y="3999419"/>
                </a:moveTo>
                <a:lnTo>
                  <a:pt x="10744384" y="3999913"/>
                </a:lnTo>
                <a:lnTo>
                  <a:pt x="10744882" y="3999880"/>
                </a:lnTo>
                <a:lnTo>
                  <a:pt x="10745476" y="4011320"/>
                </a:lnTo>
                <a:cubicBezTo>
                  <a:pt x="10745476" y="4017001"/>
                  <a:pt x="10745417" y="4022668"/>
                  <a:pt x="10744105" y="4028296"/>
                </a:cubicBezTo>
                <a:cubicBezTo>
                  <a:pt x="10744148" y="4059631"/>
                  <a:pt x="10741697" y="4090522"/>
                  <a:pt x="10736638" y="4120772"/>
                </a:cubicBezTo>
                <a:lnTo>
                  <a:pt x="10736100" y="4127448"/>
                </a:lnTo>
                <a:cubicBezTo>
                  <a:pt x="10735930" y="4127453"/>
                  <a:pt x="10735762" y="4127458"/>
                  <a:pt x="10735594" y="4127511"/>
                </a:cubicBezTo>
                <a:cubicBezTo>
                  <a:pt x="10711229" y="4298519"/>
                  <a:pt x="10632667" y="4452596"/>
                  <a:pt x="10516535" y="4572001"/>
                </a:cubicBezTo>
                <a:lnTo>
                  <a:pt x="10322294" y="4572001"/>
                </a:lnTo>
                <a:cubicBezTo>
                  <a:pt x="10465392" y="4471530"/>
                  <a:pt x="10567615" y="4319650"/>
                  <a:pt x="10602109" y="4144250"/>
                </a:cubicBezTo>
                <a:cubicBezTo>
                  <a:pt x="10368107" y="4194541"/>
                  <a:pt x="10177738" y="4357380"/>
                  <a:pt x="10094355" y="4572001"/>
                </a:cubicBezTo>
                <a:lnTo>
                  <a:pt x="9956808" y="4572001"/>
                </a:lnTo>
                <a:cubicBezTo>
                  <a:pt x="10050171" y="4283539"/>
                  <a:pt x="10303400" y="4064450"/>
                  <a:pt x="10615479" y="4012794"/>
                </a:cubicBezTo>
                <a:lnTo>
                  <a:pt x="10615596" y="4011646"/>
                </a:lnTo>
                <a:cubicBezTo>
                  <a:pt x="10620905" y="4010636"/>
                  <a:pt x="10626233" y="4009688"/>
                  <a:pt x="10631809" y="4010107"/>
                </a:cubicBezTo>
                <a:cubicBezTo>
                  <a:pt x="10662992" y="4004550"/>
                  <a:pt x="10694885" y="4001569"/>
                  <a:pt x="10727271" y="4001042"/>
                </a:cubicBezTo>
                <a:close/>
                <a:moveTo>
                  <a:pt x="9074958" y="3999419"/>
                </a:moveTo>
                <a:lnTo>
                  <a:pt x="9092045" y="4001042"/>
                </a:lnTo>
                <a:cubicBezTo>
                  <a:pt x="9124431" y="4001569"/>
                  <a:pt x="9156324" y="4004550"/>
                  <a:pt x="9187507" y="4010107"/>
                </a:cubicBezTo>
                <a:cubicBezTo>
                  <a:pt x="9193083" y="4009688"/>
                  <a:pt x="9198411" y="4010636"/>
                  <a:pt x="9203720" y="4011646"/>
                </a:cubicBezTo>
                <a:lnTo>
                  <a:pt x="9203837" y="4012794"/>
                </a:lnTo>
                <a:cubicBezTo>
                  <a:pt x="9515916" y="4064450"/>
                  <a:pt x="9769145" y="4283539"/>
                  <a:pt x="9862508" y="4572001"/>
                </a:cubicBezTo>
                <a:lnTo>
                  <a:pt x="9724961" y="4572001"/>
                </a:lnTo>
                <a:cubicBezTo>
                  <a:pt x="9641578" y="4357380"/>
                  <a:pt x="9451209" y="4194541"/>
                  <a:pt x="9217207" y="4144250"/>
                </a:cubicBezTo>
                <a:cubicBezTo>
                  <a:pt x="9251701" y="4319651"/>
                  <a:pt x="9353924" y="4471530"/>
                  <a:pt x="9497022" y="4572001"/>
                </a:cubicBezTo>
                <a:lnTo>
                  <a:pt x="9302781" y="4572001"/>
                </a:lnTo>
                <a:cubicBezTo>
                  <a:pt x="9186649" y="4452596"/>
                  <a:pt x="9108087" y="4298519"/>
                  <a:pt x="9083722" y="4127511"/>
                </a:cubicBezTo>
                <a:cubicBezTo>
                  <a:pt x="9083554" y="4127458"/>
                  <a:pt x="9083386" y="4127453"/>
                  <a:pt x="9083216" y="4127448"/>
                </a:cubicBezTo>
                <a:lnTo>
                  <a:pt x="9082678" y="4120772"/>
                </a:lnTo>
                <a:cubicBezTo>
                  <a:pt x="9077619" y="4090522"/>
                  <a:pt x="9075168" y="4059631"/>
                  <a:pt x="9075211" y="4028296"/>
                </a:cubicBezTo>
                <a:cubicBezTo>
                  <a:pt x="9073899" y="4022668"/>
                  <a:pt x="9073840" y="4017001"/>
                  <a:pt x="9073840" y="4011320"/>
                </a:cubicBezTo>
                <a:lnTo>
                  <a:pt x="9074434" y="3999880"/>
                </a:lnTo>
                <a:lnTo>
                  <a:pt x="9074932" y="3999913"/>
                </a:lnTo>
                <a:close/>
                <a:moveTo>
                  <a:pt x="9052207" y="3999419"/>
                </a:moveTo>
                <a:lnTo>
                  <a:pt x="9052233" y="3999913"/>
                </a:lnTo>
                <a:lnTo>
                  <a:pt x="9052731" y="3999880"/>
                </a:lnTo>
                <a:lnTo>
                  <a:pt x="9053325" y="4011320"/>
                </a:lnTo>
                <a:cubicBezTo>
                  <a:pt x="9053325" y="4017001"/>
                  <a:pt x="9053266" y="4022668"/>
                  <a:pt x="9051954" y="4028296"/>
                </a:cubicBezTo>
                <a:cubicBezTo>
                  <a:pt x="9051997" y="4059631"/>
                  <a:pt x="9049546" y="4090522"/>
                  <a:pt x="9044487" y="4120772"/>
                </a:cubicBezTo>
                <a:lnTo>
                  <a:pt x="9043949" y="4127448"/>
                </a:lnTo>
                <a:cubicBezTo>
                  <a:pt x="9043779" y="4127453"/>
                  <a:pt x="9043611" y="4127458"/>
                  <a:pt x="9043443" y="4127511"/>
                </a:cubicBezTo>
                <a:cubicBezTo>
                  <a:pt x="9019078" y="4298519"/>
                  <a:pt x="8940516" y="4452596"/>
                  <a:pt x="8824384" y="4572001"/>
                </a:cubicBezTo>
                <a:lnTo>
                  <a:pt x="8630143" y="4572001"/>
                </a:lnTo>
                <a:cubicBezTo>
                  <a:pt x="8773241" y="4471530"/>
                  <a:pt x="8875464" y="4319651"/>
                  <a:pt x="8909958" y="4144250"/>
                </a:cubicBezTo>
                <a:cubicBezTo>
                  <a:pt x="8675956" y="4194541"/>
                  <a:pt x="8485587" y="4357380"/>
                  <a:pt x="8402204" y="4572001"/>
                </a:cubicBezTo>
                <a:lnTo>
                  <a:pt x="8264656" y="4572001"/>
                </a:lnTo>
                <a:cubicBezTo>
                  <a:pt x="8358019" y="4283539"/>
                  <a:pt x="8611249" y="4064450"/>
                  <a:pt x="8923328" y="4012794"/>
                </a:cubicBezTo>
                <a:lnTo>
                  <a:pt x="8923445" y="4011646"/>
                </a:lnTo>
                <a:cubicBezTo>
                  <a:pt x="8928754" y="4010636"/>
                  <a:pt x="8934082" y="4009688"/>
                  <a:pt x="8939658" y="4010107"/>
                </a:cubicBezTo>
                <a:cubicBezTo>
                  <a:pt x="8970841" y="4004550"/>
                  <a:pt x="9002734" y="4001569"/>
                  <a:pt x="9035120" y="4001042"/>
                </a:cubicBezTo>
                <a:close/>
                <a:moveTo>
                  <a:pt x="7382807" y="3999419"/>
                </a:moveTo>
                <a:lnTo>
                  <a:pt x="7399895" y="4001042"/>
                </a:lnTo>
                <a:cubicBezTo>
                  <a:pt x="7432280" y="4001569"/>
                  <a:pt x="7464173" y="4004550"/>
                  <a:pt x="7495356" y="4010107"/>
                </a:cubicBezTo>
                <a:cubicBezTo>
                  <a:pt x="7500932" y="4009688"/>
                  <a:pt x="7506260" y="4010636"/>
                  <a:pt x="7511569" y="4011646"/>
                </a:cubicBezTo>
                <a:lnTo>
                  <a:pt x="7511686" y="4012794"/>
                </a:lnTo>
                <a:cubicBezTo>
                  <a:pt x="7823765" y="4064450"/>
                  <a:pt x="8076994" y="4283539"/>
                  <a:pt x="8170358" y="4572001"/>
                </a:cubicBezTo>
                <a:lnTo>
                  <a:pt x="8032809" y="4572001"/>
                </a:lnTo>
                <a:cubicBezTo>
                  <a:pt x="7949426" y="4357380"/>
                  <a:pt x="7759058" y="4194541"/>
                  <a:pt x="7525056" y="4144250"/>
                </a:cubicBezTo>
                <a:cubicBezTo>
                  <a:pt x="7559550" y="4319650"/>
                  <a:pt x="7661773" y="4471530"/>
                  <a:pt x="7804870" y="4572001"/>
                </a:cubicBezTo>
                <a:lnTo>
                  <a:pt x="7610630" y="4572001"/>
                </a:lnTo>
                <a:cubicBezTo>
                  <a:pt x="7494498" y="4452596"/>
                  <a:pt x="7415935" y="4298519"/>
                  <a:pt x="7391571" y="4127511"/>
                </a:cubicBezTo>
                <a:cubicBezTo>
                  <a:pt x="7391403" y="4127458"/>
                  <a:pt x="7391235" y="4127453"/>
                  <a:pt x="7391065" y="4127448"/>
                </a:cubicBezTo>
                <a:lnTo>
                  <a:pt x="7390527" y="4120772"/>
                </a:lnTo>
                <a:cubicBezTo>
                  <a:pt x="7385468" y="4090522"/>
                  <a:pt x="7383018" y="4059631"/>
                  <a:pt x="7383060" y="4028296"/>
                </a:cubicBezTo>
                <a:cubicBezTo>
                  <a:pt x="7381748" y="4022668"/>
                  <a:pt x="7381689" y="4017001"/>
                  <a:pt x="7381689" y="4011320"/>
                </a:cubicBezTo>
                <a:lnTo>
                  <a:pt x="7382283" y="3999880"/>
                </a:lnTo>
                <a:lnTo>
                  <a:pt x="7382781" y="3999913"/>
                </a:lnTo>
                <a:close/>
                <a:moveTo>
                  <a:pt x="7360056" y="3999419"/>
                </a:moveTo>
                <a:lnTo>
                  <a:pt x="7360082" y="3999913"/>
                </a:lnTo>
                <a:lnTo>
                  <a:pt x="7360580" y="3999880"/>
                </a:lnTo>
                <a:lnTo>
                  <a:pt x="7361174" y="4011320"/>
                </a:lnTo>
                <a:cubicBezTo>
                  <a:pt x="7361174" y="4017001"/>
                  <a:pt x="7361115" y="4022668"/>
                  <a:pt x="7359803" y="4028296"/>
                </a:cubicBezTo>
                <a:cubicBezTo>
                  <a:pt x="7359845" y="4059631"/>
                  <a:pt x="7357395" y="4090522"/>
                  <a:pt x="7352336" y="4120772"/>
                </a:cubicBezTo>
                <a:lnTo>
                  <a:pt x="7351798" y="4127448"/>
                </a:lnTo>
                <a:cubicBezTo>
                  <a:pt x="7351628" y="4127453"/>
                  <a:pt x="7351460" y="4127458"/>
                  <a:pt x="7351292" y="4127511"/>
                </a:cubicBezTo>
                <a:cubicBezTo>
                  <a:pt x="7326927" y="4298519"/>
                  <a:pt x="7248364" y="4452596"/>
                  <a:pt x="7132233" y="4572001"/>
                </a:cubicBezTo>
                <a:lnTo>
                  <a:pt x="6937992" y="4572001"/>
                </a:lnTo>
                <a:cubicBezTo>
                  <a:pt x="7081090" y="4471530"/>
                  <a:pt x="7183313" y="4319650"/>
                  <a:pt x="7217807" y="4144250"/>
                </a:cubicBezTo>
                <a:cubicBezTo>
                  <a:pt x="6983804" y="4194541"/>
                  <a:pt x="6793436" y="4357380"/>
                  <a:pt x="6710053" y="4572001"/>
                </a:cubicBezTo>
                <a:lnTo>
                  <a:pt x="6572505" y="4572001"/>
                </a:lnTo>
                <a:cubicBezTo>
                  <a:pt x="6665868" y="4283539"/>
                  <a:pt x="6919098" y="4064450"/>
                  <a:pt x="7231177" y="4012794"/>
                </a:cubicBezTo>
                <a:lnTo>
                  <a:pt x="7231294" y="4011646"/>
                </a:lnTo>
                <a:cubicBezTo>
                  <a:pt x="7236603" y="4010636"/>
                  <a:pt x="7241931" y="4009688"/>
                  <a:pt x="7247507" y="4010107"/>
                </a:cubicBezTo>
                <a:cubicBezTo>
                  <a:pt x="7278690" y="4004550"/>
                  <a:pt x="7310583" y="4001569"/>
                  <a:pt x="7342968" y="4001042"/>
                </a:cubicBezTo>
                <a:close/>
                <a:moveTo>
                  <a:pt x="5690656" y="3999419"/>
                </a:moveTo>
                <a:lnTo>
                  <a:pt x="5707743" y="4001042"/>
                </a:lnTo>
                <a:cubicBezTo>
                  <a:pt x="5740129" y="4001569"/>
                  <a:pt x="5772021" y="4004550"/>
                  <a:pt x="5803205" y="4010107"/>
                </a:cubicBezTo>
                <a:cubicBezTo>
                  <a:pt x="5808781" y="4009688"/>
                  <a:pt x="5814109" y="4010636"/>
                  <a:pt x="5819417" y="4011646"/>
                </a:cubicBezTo>
                <a:lnTo>
                  <a:pt x="5819534" y="4012794"/>
                </a:lnTo>
                <a:cubicBezTo>
                  <a:pt x="6131614" y="4064450"/>
                  <a:pt x="6384843" y="4283539"/>
                  <a:pt x="6478206" y="4572001"/>
                </a:cubicBezTo>
                <a:lnTo>
                  <a:pt x="6340658" y="4572001"/>
                </a:lnTo>
                <a:cubicBezTo>
                  <a:pt x="6257275" y="4357380"/>
                  <a:pt x="6066907" y="4194541"/>
                  <a:pt x="5832905" y="4144250"/>
                </a:cubicBezTo>
                <a:cubicBezTo>
                  <a:pt x="5867399" y="4319651"/>
                  <a:pt x="5969622" y="4471530"/>
                  <a:pt x="6112719" y="4572001"/>
                </a:cubicBezTo>
                <a:lnTo>
                  <a:pt x="5918478" y="4572001"/>
                </a:lnTo>
                <a:cubicBezTo>
                  <a:pt x="5802347" y="4452596"/>
                  <a:pt x="5723784" y="4298519"/>
                  <a:pt x="5699419" y="4127511"/>
                </a:cubicBezTo>
                <a:cubicBezTo>
                  <a:pt x="5699252" y="4127458"/>
                  <a:pt x="5699083" y="4127453"/>
                  <a:pt x="5698914" y="4127448"/>
                </a:cubicBezTo>
                <a:lnTo>
                  <a:pt x="5698375" y="4120772"/>
                </a:lnTo>
                <a:cubicBezTo>
                  <a:pt x="5693317" y="4090522"/>
                  <a:pt x="5690866" y="4059631"/>
                  <a:pt x="5690908" y="4028296"/>
                </a:cubicBezTo>
                <a:cubicBezTo>
                  <a:pt x="5689596" y="4022668"/>
                  <a:pt x="5689538" y="4017001"/>
                  <a:pt x="5689538" y="4011320"/>
                </a:cubicBezTo>
                <a:lnTo>
                  <a:pt x="5690132" y="3999880"/>
                </a:lnTo>
                <a:lnTo>
                  <a:pt x="5690630" y="3999913"/>
                </a:lnTo>
                <a:close/>
                <a:moveTo>
                  <a:pt x="5667905" y="3999419"/>
                </a:moveTo>
                <a:lnTo>
                  <a:pt x="5667931" y="3999913"/>
                </a:lnTo>
                <a:lnTo>
                  <a:pt x="5668429" y="3999880"/>
                </a:lnTo>
                <a:lnTo>
                  <a:pt x="5669023" y="4011320"/>
                </a:lnTo>
                <a:cubicBezTo>
                  <a:pt x="5669023" y="4017001"/>
                  <a:pt x="5668964" y="4022668"/>
                  <a:pt x="5667652" y="4028296"/>
                </a:cubicBezTo>
                <a:cubicBezTo>
                  <a:pt x="5667694" y="4059631"/>
                  <a:pt x="5665244" y="4090522"/>
                  <a:pt x="5660185" y="4120772"/>
                </a:cubicBezTo>
                <a:lnTo>
                  <a:pt x="5659647" y="4127448"/>
                </a:lnTo>
                <a:cubicBezTo>
                  <a:pt x="5659477" y="4127453"/>
                  <a:pt x="5659309" y="4127458"/>
                  <a:pt x="5659141" y="4127511"/>
                </a:cubicBezTo>
                <a:cubicBezTo>
                  <a:pt x="5634776" y="4298519"/>
                  <a:pt x="5556213" y="4452596"/>
                  <a:pt x="5440082" y="4572001"/>
                </a:cubicBezTo>
                <a:lnTo>
                  <a:pt x="5245841" y="4572001"/>
                </a:lnTo>
                <a:cubicBezTo>
                  <a:pt x="5388939" y="4471530"/>
                  <a:pt x="5491162" y="4319651"/>
                  <a:pt x="5525656" y="4144250"/>
                </a:cubicBezTo>
                <a:cubicBezTo>
                  <a:pt x="5291653" y="4194541"/>
                  <a:pt x="5101285" y="4357380"/>
                  <a:pt x="5017902" y="4572001"/>
                </a:cubicBezTo>
                <a:lnTo>
                  <a:pt x="4880354" y="4572001"/>
                </a:lnTo>
                <a:cubicBezTo>
                  <a:pt x="4973717" y="4283539"/>
                  <a:pt x="5226947" y="4064450"/>
                  <a:pt x="5539026" y="4012794"/>
                </a:cubicBezTo>
                <a:lnTo>
                  <a:pt x="5539143" y="4011646"/>
                </a:lnTo>
                <a:cubicBezTo>
                  <a:pt x="5544452" y="4010636"/>
                  <a:pt x="5549780" y="4009688"/>
                  <a:pt x="5555356" y="4010107"/>
                </a:cubicBezTo>
                <a:cubicBezTo>
                  <a:pt x="5586539" y="4004550"/>
                  <a:pt x="5618432" y="4001569"/>
                  <a:pt x="5650817" y="4001042"/>
                </a:cubicBezTo>
                <a:close/>
                <a:moveTo>
                  <a:pt x="3998505" y="3999419"/>
                </a:moveTo>
                <a:lnTo>
                  <a:pt x="4015592" y="4001042"/>
                </a:lnTo>
                <a:cubicBezTo>
                  <a:pt x="4047978" y="4001569"/>
                  <a:pt x="4079870" y="4004550"/>
                  <a:pt x="4111054" y="4010107"/>
                </a:cubicBezTo>
                <a:cubicBezTo>
                  <a:pt x="4116630" y="4009688"/>
                  <a:pt x="4121958" y="4010636"/>
                  <a:pt x="4127266" y="4011646"/>
                </a:cubicBezTo>
                <a:lnTo>
                  <a:pt x="4127384" y="4012794"/>
                </a:lnTo>
                <a:cubicBezTo>
                  <a:pt x="4439463" y="4064450"/>
                  <a:pt x="4692692" y="4283539"/>
                  <a:pt x="4786055" y="4572001"/>
                </a:cubicBezTo>
                <a:lnTo>
                  <a:pt x="4648508" y="4572001"/>
                </a:lnTo>
                <a:cubicBezTo>
                  <a:pt x="4565124" y="4357380"/>
                  <a:pt x="4374756" y="4194541"/>
                  <a:pt x="4140754" y="4144250"/>
                </a:cubicBezTo>
                <a:cubicBezTo>
                  <a:pt x="4175248" y="4319650"/>
                  <a:pt x="4277471" y="4471530"/>
                  <a:pt x="4420568" y="4572001"/>
                </a:cubicBezTo>
                <a:lnTo>
                  <a:pt x="4226327" y="4572001"/>
                </a:lnTo>
                <a:cubicBezTo>
                  <a:pt x="4110196" y="4452596"/>
                  <a:pt x="4031633" y="4298519"/>
                  <a:pt x="4007268" y="4127511"/>
                </a:cubicBezTo>
                <a:cubicBezTo>
                  <a:pt x="4007101" y="4127458"/>
                  <a:pt x="4006932" y="4127453"/>
                  <a:pt x="4006763" y="4127448"/>
                </a:cubicBezTo>
                <a:lnTo>
                  <a:pt x="4006225" y="4120772"/>
                </a:lnTo>
                <a:cubicBezTo>
                  <a:pt x="4001166" y="4090522"/>
                  <a:pt x="3998715" y="4059631"/>
                  <a:pt x="3998757" y="4028296"/>
                </a:cubicBezTo>
                <a:cubicBezTo>
                  <a:pt x="3997445" y="4022668"/>
                  <a:pt x="3997387" y="4017001"/>
                  <a:pt x="3997387" y="4011320"/>
                </a:cubicBezTo>
                <a:lnTo>
                  <a:pt x="3997981" y="3999880"/>
                </a:lnTo>
                <a:lnTo>
                  <a:pt x="3998479" y="3999913"/>
                </a:lnTo>
                <a:close/>
                <a:moveTo>
                  <a:pt x="3975754" y="3999419"/>
                </a:moveTo>
                <a:lnTo>
                  <a:pt x="3975780" y="3999913"/>
                </a:lnTo>
                <a:lnTo>
                  <a:pt x="3976278" y="3999880"/>
                </a:lnTo>
                <a:lnTo>
                  <a:pt x="3976872" y="4011320"/>
                </a:lnTo>
                <a:cubicBezTo>
                  <a:pt x="3976872" y="4017001"/>
                  <a:pt x="3976813" y="4022668"/>
                  <a:pt x="3975501" y="4028296"/>
                </a:cubicBezTo>
                <a:cubicBezTo>
                  <a:pt x="3975543" y="4059631"/>
                  <a:pt x="3973093" y="4090522"/>
                  <a:pt x="3968034" y="4120772"/>
                </a:cubicBezTo>
                <a:lnTo>
                  <a:pt x="3967496" y="4127448"/>
                </a:lnTo>
                <a:cubicBezTo>
                  <a:pt x="3967326" y="4127453"/>
                  <a:pt x="3967158" y="4127458"/>
                  <a:pt x="3966990" y="4127511"/>
                </a:cubicBezTo>
                <a:cubicBezTo>
                  <a:pt x="3942625" y="4298519"/>
                  <a:pt x="3864063" y="4452596"/>
                  <a:pt x="3747931" y="4572001"/>
                </a:cubicBezTo>
                <a:lnTo>
                  <a:pt x="3553690" y="4572001"/>
                </a:lnTo>
                <a:cubicBezTo>
                  <a:pt x="3696788" y="4471530"/>
                  <a:pt x="3799011" y="4319651"/>
                  <a:pt x="3833505" y="4144250"/>
                </a:cubicBezTo>
                <a:cubicBezTo>
                  <a:pt x="3599503" y="4194541"/>
                  <a:pt x="3409134" y="4357380"/>
                  <a:pt x="3325751" y="4572001"/>
                </a:cubicBezTo>
                <a:lnTo>
                  <a:pt x="3188203" y="4572001"/>
                </a:lnTo>
                <a:cubicBezTo>
                  <a:pt x="3281566" y="4283539"/>
                  <a:pt x="3534796" y="4064450"/>
                  <a:pt x="3846875" y="4012794"/>
                </a:cubicBezTo>
                <a:lnTo>
                  <a:pt x="3846992" y="4011646"/>
                </a:lnTo>
                <a:cubicBezTo>
                  <a:pt x="3852301" y="4010636"/>
                  <a:pt x="3857629" y="4009688"/>
                  <a:pt x="3863205" y="4010107"/>
                </a:cubicBezTo>
                <a:cubicBezTo>
                  <a:pt x="3894388" y="4004550"/>
                  <a:pt x="3926281" y="4001569"/>
                  <a:pt x="3958666" y="4001042"/>
                </a:cubicBezTo>
                <a:close/>
                <a:moveTo>
                  <a:pt x="2306354" y="3999419"/>
                </a:moveTo>
                <a:lnTo>
                  <a:pt x="2323441" y="4001042"/>
                </a:lnTo>
                <a:cubicBezTo>
                  <a:pt x="2355827" y="4001569"/>
                  <a:pt x="2387719" y="4004550"/>
                  <a:pt x="2418903" y="4010107"/>
                </a:cubicBezTo>
                <a:cubicBezTo>
                  <a:pt x="2424479" y="4009688"/>
                  <a:pt x="2429807" y="4010636"/>
                  <a:pt x="2435115" y="4011646"/>
                </a:cubicBezTo>
                <a:lnTo>
                  <a:pt x="2435233" y="4012794"/>
                </a:lnTo>
                <a:cubicBezTo>
                  <a:pt x="2747312" y="4064450"/>
                  <a:pt x="3000542" y="4283539"/>
                  <a:pt x="3093904" y="4572001"/>
                </a:cubicBezTo>
                <a:lnTo>
                  <a:pt x="2956357" y="4572001"/>
                </a:lnTo>
                <a:cubicBezTo>
                  <a:pt x="2872974" y="4357380"/>
                  <a:pt x="2682605" y="4194541"/>
                  <a:pt x="2448603" y="4144250"/>
                </a:cubicBezTo>
                <a:cubicBezTo>
                  <a:pt x="2483097" y="4319651"/>
                  <a:pt x="2585320" y="4471530"/>
                  <a:pt x="2728418" y="4572001"/>
                </a:cubicBezTo>
                <a:lnTo>
                  <a:pt x="2534177" y="4572001"/>
                </a:lnTo>
                <a:cubicBezTo>
                  <a:pt x="2418045" y="4452596"/>
                  <a:pt x="2339482" y="4298519"/>
                  <a:pt x="2315117" y="4127511"/>
                </a:cubicBezTo>
                <a:cubicBezTo>
                  <a:pt x="2314950" y="4127458"/>
                  <a:pt x="2314781" y="4127453"/>
                  <a:pt x="2314612" y="4127448"/>
                </a:cubicBezTo>
                <a:lnTo>
                  <a:pt x="2314074" y="4120772"/>
                </a:lnTo>
                <a:cubicBezTo>
                  <a:pt x="2309015" y="4090522"/>
                  <a:pt x="2306564" y="4059631"/>
                  <a:pt x="2306606" y="4028296"/>
                </a:cubicBezTo>
                <a:cubicBezTo>
                  <a:pt x="2305294" y="4022668"/>
                  <a:pt x="2305236" y="4017001"/>
                  <a:pt x="2305236" y="4011320"/>
                </a:cubicBezTo>
                <a:lnTo>
                  <a:pt x="2305830" y="3999880"/>
                </a:lnTo>
                <a:lnTo>
                  <a:pt x="2306328" y="3999913"/>
                </a:lnTo>
                <a:close/>
                <a:moveTo>
                  <a:pt x="2283603" y="3999419"/>
                </a:moveTo>
                <a:lnTo>
                  <a:pt x="2283629" y="3999913"/>
                </a:lnTo>
                <a:lnTo>
                  <a:pt x="2284127" y="3999880"/>
                </a:lnTo>
                <a:lnTo>
                  <a:pt x="2284721" y="4011320"/>
                </a:lnTo>
                <a:cubicBezTo>
                  <a:pt x="2284721" y="4017001"/>
                  <a:pt x="2284662" y="4022668"/>
                  <a:pt x="2283350" y="4028296"/>
                </a:cubicBezTo>
                <a:cubicBezTo>
                  <a:pt x="2283392" y="4059631"/>
                  <a:pt x="2280942" y="4090522"/>
                  <a:pt x="2275883" y="4120772"/>
                </a:cubicBezTo>
                <a:lnTo>
                  <a:pt x="2275345" y="4127448"/>
                </a:lnTo>
                <a:cubicBezTo>
                  <a:pt x="2275175" y="4127453"/>
                  <a:pt x="2275007" y="4127458"/>
                  <a:pt x="2274839" y="4127511"/>
                </a:cubicBezTo>
                <a:cubicBezTo>
                  <a:pt x="2250474" y="4298519"/>
                  <a:pt x="2171912" y="4452596"/>
                  <a:pt x="2055780" y="4572001"/>
                </a:cubicBezTo>
                <a:lnTo>
                  <a:pt x="1861539" y="4572001"/>
                </a:lnTo>
                <a:cubicBezTo>
                  <a:pt x="2004637" y="4471530"/>
                  <a:pt x="2106860" y="4319650"/>
                  <a:pt x="2141354" y="4144250"/>
                </a:cubicBezTo>
                <a:cubicBezTo>
                  <a:pt x="1907352" y="4194541"/>
                  <a:pt x="1716983" y="4357380"/>
                  <a:pt x="1633600" y="4572001"/>
                </a:cubicBezTo>
                <a:lnTo>
                  <a:pt x="1496052" y="4572001"/>
                </a:lnTo>
                <a:cubicBezTo>
                  <a:pt x="1589416" y="4283539"/>
                  <a:pt x="1842645" y="4064450"/>
                  <a:pt x="2154724" y="4012794"/>
                </a:cubicBezTo>
                <a:lnTo>
                  <a:pt x="2154841" y="4011646"/>
                </a:lnTo>
                <a:cubicBezTo>
                  <a:pt x="2160150" y="4010636"/>
                  <a:pt x="2165478" y="4009688"/>
                  <a:pt x="2171054" y="4010107"/>
                </a:cubicBezTo>
                <a:cubicBezTo>
                  <a:pt x="2202237" y="4004550"/>
                  <a:pt x="2234130" y="4001569"/>
                  <a:pt x="2266515" y="4001042"/>
                </a:cubicBezTo>
                <a:close/>
                <a:moveTo>
                  <a:pt x="614203" y="3999419"/>
                </a:moveTo>
                <a:lnTo>
                  <a:pt x="631290" y="4001042"/>
                </a:lnTo>
                <a:cubicBezTo>
                  <a:pt x="663676" y="4001569"/>
                  <a:pt x="695568" y="4004550"/>
                  <a:pt x="726752" y="4010107"/>
                </a:cubicBezTo>
                <a:cubicBezTo>
                  <a:pt x="732328" y="4009688"/>
                  <a:pt x="737656" y="4010636"/>
                  <a:pt x="742964" y="4011646"/>
                </a:cubicBezTo>
                <a:lnTo>
                  <a:pt x="743081" y="4012794"/>
                </a:lnTo>
                <a:cubicBezTo>
                  <a:pt x="1055161" y="4064450"/>
                  <a:pt x="1308390" y="4283539"/>
                  <a:pt x="1401754" y="4572001"/>
                </a:cubicBezTo>
                <a:lnTo>
                  <a:pt x="1264205" y="4572001"/>
                </a:lnTo>
                <a:cubicBezTo>
                  <a:pt x="1180823" y="4357380"/>
                  <a:pt x="990454" y="4194541"/>
                  <a:pt x="756452" y="4144250"/>
                </a:cubicBezTo>
                <a:cubicBezTo>
                  <a:pt x="790946" y="4319651"/>
                  <a:pt x="893169" y="4471530"/>
                  <a:pt x="1036266" y="4572001"/>
                </a:cubicBezTo>
                <a:lnTo>
                  <a:pt x="842026" y="4572001"/>
                </a:lnTo>
                <a:cubicBezTo>
                  <a:pt x="725894" y="4452596"/>
                  <a:pt x="647331" y="4298519"/>
                  <a:pt x="622966" y="4127511"/>
                </a:cubicBezTo>
                <a:cubicBezTo>
                  <a:pt x="622799" y="4127458"/>
                  <a:pt x="622630" y="4127453"/>
                  <a:pt x="622461" y="4127448"/>
                </a:cubicBezTo>
                <a:lnTo>
                  <a:pt x="621923" y="4120772"/>
                </a:lnTo>
                <a:cubicBezTo>
                  <a:pt x="616864" y="4090522"/>
                  <a:pt x="614413" y="4059631"/>
                  <a:pt x="614455" y="4028296"/>
                </a:cubicBezTo>
                <a:cubicBezTo>
                  <a:pt x="613143" y="4022668"/>
                  <a:pt x="613085" y="4017001"/>
                  <a:pt x="613085" y="4011320"/>
                </a:cubicBezTo>
                <a:lnTo>
                  <a:pt x="613679" y="3999880"/>
                </a:lnTo>
                <a:lnTo>
                  <a:pt x="614177" y="3999913"/>
                </a:lnTo>
                <a:close/>
                <a:moveTo>
                  <a:pt x="591452" y="3999419"/>
                </a:moveTo>
                <a:lnTo>
                  <a:pt x="591478" y="3999913"/>
                </a:lnTo>
                <a:lnTo>
                  <a:pt x="591976" y="3999880"/>
                </a:lnTo>
                <a:lnTo>
                  <a:pt x="592570" y="4011320"/>
                </a:lnTo>
                <a:cubicBezTo>
                  <a:pt x="592570" y="4017001"/>
                  <a:pt x="592511" y="4022668"/>
                  <a:pt x="591199" y="4028296"/>
                </a:cubicBezTo>
                <a:cubicBezTo>
                  <a:pt x="591242" y="4059631"/>
                  <a:pt x="588791" y="4090522"/>
                  <a:pt x="583732" y="4120772"/>
                </a:cubicBezTo>
                <a:lnTo>
                  <a:pt x="583194" y="4127448"/>
                </a:lnTo>
                <a:cubicBezTo>
                  <a:pt x="583024" y="4127453"/>
                  <a:pt x="582856" y="4127458"/>
                  <a:pt x="582689" y="4127511"/>
                </a:cubicBezTo>
                <a:cubicBezTo>
                  <a:pt x="558275" y="4298863"/>
                  <a:pt x="479445" y="4453216"/>
                  <a:pt x="362360" y="4572001"/>
                </a:cubicBezTo>
                <a:lnTo>
                  <a:pt x="169811" y="4572001"/>
                </a:lnTo>
                <a:cubicBezTo>
                  <a:pt x="312603" y="4471357"/>
                  <a:pt x="414729" y="4319551"/>
                  <a:pt x="449203" y="4144250"/>
                </a:cubicBezTo>
                <a:cubicBezTo>
                  <a:pt x="258971" y="4185134"/>
                  <a:pt x="97576" y="4300399"/>
                  <a:pt x="0" y="4458139"/>
                </a:cubicBezTo>
                <a:lnTo>
                  <a:pt x="0" y="4251345"/>
                </a:lnTo>
                <a:cubicBezTo>
                  <a:pt x="121484" y="4128438"/>
                  <a:pt x="282199" y="4042650"/>
                  <a:pt x="462573" y="4012794"/>
                </a:cubicBezTo>
                <a:lnTo>
                  <a:pt x="462690" y="4011646"/>
                </a:lnTo>
                <a:cubicBezTo>
                  <a:pt x="467999" y="4010636"/>
                  <a:pt x="473327" y="4009688"/>
                  <a:pt x="478903" y="4010107"/>
                </a:cubicBezTo>
                <a:cubicBezTo>
                  <a:pt x="510086" y="4004550"/>
                  <a:pt x="541979" y="4001569"/>
                  <a:pt x="574365" y="4001042"/>
                </a:cubicBezTo>
                <a:close/>
                <a:moveTo>
                  <a:pt x="11452667" y="3304913"/>
                </a:moveTo>
                <a:cubicBezTo>
                  <a:pt x="11177477" y="3363591"/>
                  <a:pt x="10962633" y="3576701"/>
                  <a:pt x="10909358" y="3845480"/>
                </a:cubicBezTo>
                <a:cubicBezTo>
                  <a:pt x="11184548" y="3786801"/>
                  <a:pt x="11399391" y="3573691"/>
                  <a:pt x="11452667" y="3304913"/>
                </a:cubicBezTo>
                <a:close/>
                <a:moveTo>
                  <a:pt x="10058800" y="3304913"/>
                </a:moveTo>
                <a:cubicBezTo>
                  <a:pt x="10112076" y="3573691"/>
                  <a:pt x="10326919" y="3786801"/>
                  <a:pt x="10602109" y="3845480"/>
                </a:cubicBezTo>
                <a:cubicBezTo>
                  <a:pt x="10548834" y="3576701"/>
                  <a:pt x="10333990" y="3363591"/>
                  <a:pt x="10058800" y="3304913"/>
                </a:cubicBezTo>
                <a:close/>
                <a:moveTo>
                  <a:pt x="9760514" y="3304913"/>
                </a:moveTo>
                <a:cubicBezTo>
                  <a:pt x="9485324" y="3363591"/>
                  <a:pt x="9270480" y="3576701"/>
                  <a:pt x="9217205" y="3845480"/>
                </a:cubicBezTo>
                <a:cubicBezTo>
                  <a:pt x="9492395" y="3786801"/>
                  <a:pt x="9707238" y="3573691"/>
                  <a:pt x="9760514" y="3304913"/>
                </a:cubicBezTo>
                <a:close/>
                <a:moveTo>
                  <a:pt x="8366649" y="3304913"/>
                </a:moveTo>
                <a:cubicBezTo>
                  <a:pt x="8419925" y="3573691"/>
                  <a:pt x="8634768" y="3786801"/>
                  <a:pt x="8909958" y="3845480"/>
                </a:cubicBezTo>
                <a:cubicBezTo>
                  <a:pt x="8856683" y="3576701"/>
                  <a:pt x="8641839" y="3363591"/>
                  <a:pt x="8366649" y="3304913"/>
                </a:cubicBezTo>
                <a:close/>
                <a:moveTo>
                  <a:pt x="8068363" y="3304913"/>
                </a:moveTo>
                <a:cubicBezTo>
                  <a:pt x="7793173" y="3363591"/>
                  <a:pt x="7578329" y="3576701"/>
                  <a:pt x="7525054" y="3845480"/>
                </a:cubicBezTo>
                <a:cubicBezTo>
                  <a:pt x="7800244" y="3786801"/>
                  <a:pt x="8015087" y="3573691"/>
                  <a:pt x="8068363" y="3304913"/>
                </a:cubicBezTo>
                <a:close/>
                <a:moveTo>
                  <a:pt x="6674498" y="3304913"/>
                </a:moveTo>
                <a:cubicBezTo>
                  <a:pt x="6727774" y="3573691"/>
                  <a:pt x="6942617" y="3786801"/>
                  <a:pt x="7217807" y="3845480"/>
                </a:cubicBezTo>
                <a:cubicBezTo>
                  <a:pt x="7164532" y="3576701"/>
                  <a:pt x="6949688" y="3363591"/>
                  <a:pt x="6674498" y="3304913"/>
                </a:cubicBezTo>
                <a:close/>
                <a:moveTo>
                  <a:pt x="6376212" y="3304913"/>
                </a:moveTo>
                <a:cubicBezTo>
                  <a:pt x="6101022" y="3363591"/>
                  <a:pt x="5886178" y="3576701"/>
                  <a:pt x="5832903" y="3845480"/>
                </a:cubicBezTo>
                <a:cubicBezTo>
                  <a:pt x="6108093" y="3786801"/>
                  <a:pt x="6322936" y="3573691"/>
                  <a:pt x="6376212" y="3304913"/>
                </a:cubicBezTo>
                <a:close/>
                <a:moveTo>
                  <a:pt x="4982347" y="3304913"/>
                </a:moveTo>
                <a:cubicBezTo>
                  <a:pt x="5035623" y="3573691"/>
                  <a:pt x="5250466" y="3786801"/>
                  <a:pt x="5525656" y="3845480"/>
                </a:cubicBezTo>
                <a:cubicBezTo>
                  <a:pt x="5472381" y="3576701"/>
                  <a:pt x="5257537" y="3363591"/>
                  <a:pt x="4982347" y="3304913"/>
                </a:cubicBezTo>
                <a:close/>
                <a:moveTo>
                  <a:pt x="4684061" y="3304913"/>
                </a:moveTo>
                <a:cubicBezTo>
                  <a:pt x="4408871" y="3363591"/>
                  <a:pt x="4194027" y="3576701"/>
                  <a:pt x="4140752" y="3845480"/>
                </a:cubicBezTo>
                <a:cubicBezTo>
                  <a:pt x="4415942" y="3786801"/>
                  <a:pt x="4630785" y="3573691"/>
                  <a:pt x="4684061" y="3304913"/>
                </a:cubicBezTo>
                <a:close/>
                <a:moveTo>
                  <a:pt x="3290196" y="3304913"/>
                </a:moveTo>
                <a:cubicBezTo>
                  <a:pt x="3343472" y="3573691"/>
                  <a:pt x="3558315" y="3786801"/>
                  <a:pt x="3833505" y="3845480"/>
                </a:cubicBezTo>
                <a:cubicBezTo>
                  <a:pt x="3780230" y="3576701"/>
                  <a:pt x="3565386" y="3363591"/>
                  <a:pt x="3290196" y="3304913"/>
                </a:cubicBezTo>
                <a:close/>
                <a:moveTo>
                  <a:pt x="2991910" y="3304913"/>
                </a:moveTo>
                <a:cubicBezTo>
                  <a:pt x="2716720" y="3363591"/>
                  <a:pt x="2501876" y="3576701"/>
                  <a:pt x="2448601" y="3845480"/>
                </a:cubicBezTo>
                <a:cubicBezTo>
                  <a:pt x="2723791" y="3786801"/>
                  <a:pt x="2938634" y="3573691"/>
                  <a:pt x="2991910" y="3304913"/>
                </a:cubicBezTo>
                <a:close/>
                <a:moveTo>
                  <a:pt x="1598045" y="3304913"/>
                </a:moveTo>
                <a:cubicBezTo>
                  <a:pt x="1651321" y="3573691"/>
                  <a:pt x="1866164" y="3786801"/>
                  <a:pt x="2141354" y="3845480"/>
                </a:cubicBezTo>
                <a:cubicBezTo>
                  <a:pt x="2088079" y="3576701"/>
                  <a:pt x="1873235" y="3363591"/>
                  <a:pt x="1598045" y="3304913"/>
                </a:cubicBezTo>
                <a:close/>
                <a:moveTo>
                  <a:pt x="1299759" y="3304913"/>
                </a:moveTo>
                <a:cubicBezTo>
                  <a:pt x="1024569" y="3363591"/>
                  <a:pt x="809725" y="3576701"/>
                  <a:pt x="756450" y="3845480"/>
                </a:cubicBezTo>
                <a:cubicBezTo>
                  <a:pt x="1031640" y="3786801"/>
                  <a:pt x="1246483" y="3573691"/>
                  <a:pt x="1299759" y="3304913"/>
                </a:cubicBezTo>
                <a:close/>
                <a:moveTo>
                  <a:pt x="0" y="3200906"/>
                </a:moveTo>
                <a:cubicBezTo>
                  <a:pt x="306658" y="3291386"/>
                  <a:pt x="537576" y="3547942"/>
                  <a:pt x="582690" y="3862087"/>
                </a:cubicBezTo>
                <a:cubicBezTo>
                  <a:pt x="582857" y="3862140"/>
                  <a:pt x="583026" y="3862145"/>
                  <a:pt x="583195" y="3862150"/>
                </a:cubicBezTo>
                <a:lnTo>
                  <a:pt x="583735" y="3868787"/>
                </a:lnTo>
                <a:cubicBezTo>
                  <a:pt x="588792" y="3898794"/>
                  <a:pt x="591242" y="3929436"/>
                  <a:pt x="591199" y="3960518"/>
                </a:cubicBezTo>
                <a:cubicBezTo>
                  <a:pt x="592511" y="3966104"/>
                  <a:pt x="592570" y="3971728"/>
                  <a:pt x="592570" y="3977366"/>
                </a:cubicBezTo>
                <a:cubicBezTo>
                  <a:pt x="592570" y="3981158"/>
                  <a:pt x="592543" y="3984944"/>
                  <a:pt x="591977" y="3988716"/>
                </a:cubicBezTo>
                <a:lnTo>
                  <a:pt x="591478" y="3988683"/>
                </a:lnTo>
                <a:lnTo>
                  <a:pt x="591452" y="3989174"/>
                </a:lnTo>
                <a:lnTo>
                  <a:pt x="574334" y="3987561"/>
                </a:lnTo>
                <a:cubicBezTo>
                  <a:pt x="541959" y="3987038"/>
                  <a:pt x="510079" y="3984080"/>
                  <a:pt x="478907" y="3978570"/>
                </a:cubicBezTo>
                <a:cubicBezTo>
                  <a:pt x="473330" y="3978986"/>
                  <a:pt x="468001" y="3978045"/>
                  <a:pt x="462690" y="3977042"/>
                </a:cubicBezTo>
                <a:lnTo>
                  <a:pt x="462574" y="3975903"/>
                </a:lnTo>
                <a:cubicBezTo>
                  <a:pt x="282200" y="3946281"/>
                  <a:pt x="121485" y="3861168"/>
                  <a:pt x="0" y="3739225"/>
                </a:cubicBezTo>
                <a:lnTo>
                  <a:pt x="0" y="3534056"/>
                </a:lnTo>
                <a:cubicBezTo>
                  <a:pt x="97584" y="3690562"/>
                  <a:pt x="258975" y="3804918"/>
                  <a:pt x="449203" y="3845480"/>
                </a:cubicBezTo>
                <a:cubicBezTo>
                  <a:pt x="402182" y="3608252"/>
                  <a:pt x="229297" y="3414390"/>
                  <a:pt x="0" y="3332205"/>
                </a:cubicBezTo>
                <a:close/>
                <a:moveTo>
                  <a:pt x="11608704" y="3161219"/>
                </a:moveTo>
                <a:lnTo>
                  <a:pt x="11625791" y="3162829"/>
                </a:lnTo>
                <a:cubicBezTo>
                  <a:pt x="11658177" y="3163352"/>
                  <a:pt x="11690070" y="3166310"/>
                  <a:pt x="11721253" y="3171823"/>
                </a:cubicBezTo>
                <a:cubicBezTo>
                  <a:pt x="11726829" y="3171407"/>
                  <a:pt x="11732157" y="3172348"/>
                  <a:pt x="11737466" y="3173350"/>
                </a:cubicBezTo>
                <a:lnTo>
                  <a:pt x="11737583" y="3174489"/>
                </a:lnTo>
                <a:cubicBezTo>
                  <a:pt x="11914088" y="3203476"/>
                  <a:pt x="12071767" y="3285599"/>
                  <a:pt x="12192000" y="3403667"/>
                </a:cubicBezTo>
                <a:lnTo>
                  <a:pt x="12192000" y="3603658"/>
                </a:lnTo>
                <a:cubicBezTo>
                  <a:pt x="12093732" y="3453636"/>
                  <a:pt x="11935983" y="3344367"/>
                  <a:pt x="11750953" y="3304913"/>
                </a:cubicBezTo>
                <a:cubicBezTo>
                  <a:pt x="11797422" y="3539349"/>
                  <a:pt x="11966808" y="3731433"/>
                  <a:pt x="12192000" y="3815480"/>
                </a:cubicBezTo>
                <a:lnTo>
                  <a:pt x="12192000" y="3947482"/>
                </a:lnTo>
                <a:cubicBezTo>
                  <a:pt x="11889465" y="3854506"/>
                  <a:pt x="11662185" y="3599697"/>
                  <a:pt x="11617468" y="3288305"/>
                </a:cubicBezTo>
                <a:cubicBezTo>
                  <a:pt x="11617300" y="3288253"/>
                  <a:pt x="11617132" y="3288248"/>
                  <a:pt x="11616962" y="3288243"/>
                </a:cubicBezTo>
                <a:lnTo>
                  <a:pt x="11616424" y="3281619"/>
                </a:lnTo>
                <a:cubicBezTo>
                  <a:pt x="11611365" y="3251607"/>
                  <a:pt x="11608914" y="3220958"/>
                  <a:pt x="11608957" y="3189869"/>
                </a:cubicBezTo>
                <a:cubicBezTo>
                  <a:pt x="11607645" y="3184286"/>
                  <a:pt x="11607586" y="3178663"/>
                  <a:pt x="11607586" y="3173027"/>
                </a:cubicBezTo>
                <a:lnTo>
                  <a:pt x="11608180" y="3161677"/>
                </a:lnTo>
                <a:lnTo>
                  <a:pt x="11608678" y="3161709"/>
                </a:lnTo>
                <a:close/>
                <a:moveTo>
                  <a:pt x="11594916" y="3161219"/>
                </a:moveTo>
                <a:lnTo>
                  <a:pt x="11594942" y="3161709"/>
                </a:lnTo>
                <a:lnTo>
                  <a:pt x="11595440" y="3161677"/>
                </a:lnTo>
                <a:lnTo>
                  <a:pt x="11596034" y="3173027"/>
                </a:lnTo>
                <a:cubicBezTo>
                  <a:pt x="11596034" y="3178663"/>
                  <a:pt x="11595975" y="3184286"/>
                  <a:pt x="11594663" y="3189869"/>
                </a:cubicBezTo>
                <a:cubicBezTo>
                  <a:pt x="11594706" y="3220958"/>
                  <a:pt x="11592255" y="3251607"/>
                  <a:pt x="11587196" y="3281619"/>
                </a:cubicBezTo>
                <a:lnTo>
                  <a:pt x="11586658" y="3288243"/>
                </a:lnTo>
                <a:cubicBezTo>
                  <a:pt x="11586488" y="3288248"/>
                  <a:pt x="11586320" y="3288253"/>
                  <a:pt x="11586152" y="3288305"/>
                </a:cubicBezTo>
                <a:cubicBezTo>
                  <a:pt x="11535877" y="3638399"/>
                  <a:pt x="11254838" y="3916971"/>
                  <a:pt x="10895987" y="3975903"/>
                </a:cubicBezTo>
                <a:lnTo>
                  <a:pt x="10895871" y="3977042"/>
                </a:lnTo>
                <a:cubicBezTo>
                  <a:pt x="10890560" y="3978045"/>
                  <a:pt x="10885231" y="3978986"/>
                  <a:pt x="10879654" y="3978570"/>
                </a:cubicBezTo>
                <a:cubicBezTo>
                  <a:pt x="10848482" y="3984080"/>
                  <a:pt x="10816602" y="3987038"/>
                  <a:pt x="10784227" y="3987561"/>
                </a:cubicBezTo>
                <a:lnTo>
                  <a:pt x="10767109" y="3989174"/>
                </a:lnTo>
                <a:lnTo>
                  <a:pt x="10767083" y="3988683"/>
                </a:lnTo>
                <a:lnTo>
                  <a:pt x="10766584" y="3988716"/>
                </a:lnTo>
                <a:cubicBezTo>
                  <a:pt x="10766018" y="3984944"/>
                  <a:pt x="10765991" y="3981158"/>
                  <a:pt x="10765991" y="3977366"/>
                </a:cubicBezTo>
                <a:cubicBezTo>
                  <a:pt x="10765991" y="3971728"/>
                  <a:pt x="10766050" y="3966104"/>
                  <a:pt x="10767362" y="3960518"/>
                </a:cubicBezTo>
                <a:cubicBezTo>
                  <a:pt x="10767319" y="3929436"/>
                  <a:pt x="10769769" y="3898794"/>
                  <a:pt x="10774826" y="3868787"/>
                </a:cubicBezTo>
                <a:lnTo>
                  <a:pt x="10775366" y="3862150"/>
                </a:lnTo>
                <a:cubicBezTo>
                  <a:pt x="10775535" y="3862145"/>
                  <a:pt x="10775704" y="3862140"/>
                  <a:pt x="10775872" y="3862087"/>
                </a:cubicBezTo>
                <a:cubicBezTo>
                  <a:pt x="10826148" y="3511992"/>
                  <a:pt x="11107187" y="3233421"/>
                  <a:pt x="11466037" y="3174489"/>
                </a:cubicBezTo>
                <a:lnTo>
                  <a:pt x="11466154" y="3173350"/>
                </a:lnTo>
                <a:cubicBezTo>
                  <a:pt x="11471463" y="3172348"/>
                  <a:pt x="11476791" y="3171407"/>
                  <a:pt x="11482367" y="3171823"/>
                </a:cubicBezTo>
                <a:cubicBezTo>
                  <a:pt x="11513550" y="3166310"/>
                  <a:pt x="11545443" y="3163352"/>
                  <a:pt x="11577829" y="3162829"/>
                </a:cubicBezTo>
                <a:close/>
                <a:moveTo>
                  <a:pt x="9916551" y="3161219"/>
                </a:moveTo>
                <a:lnTo>
                  <a:pt x="9933638" y="3162829"/>
                </a:lnTo>
                <a:cubicBezTo>
                  <a:pt x="9966024" y="3163352"/>
                  <a:pt x="9997917" y="3166310"/>
                  <a:pt x="10029100" y="3171823"/>
                </a:cubicBezTo>
                <a:cubicBezTo>
                  <a:pt x="10034676" y="3171407"/>
                  <a:pt x="10040004" y="3172348"/>
                  <a:pt x="10045313" y="3173350"/>
                </a:cubicBezTo>
                <a:lnTo>
                  <a:pt x="10045430" y="3174489"/>
                </a:lnTo>
                <a:cubicBezTo>
                  <a:pt x="10404280" y="3233421"/>
                  <a:pt x="10685319" y="3511992"/>
                  <a:pt x="10735596" y="3862087"/>
                </a:cubicBezTo>
                <a:cubicBezTo>
                  <a:pt x="10735763" y="3862140"/>
                  <a:pt x="10735932" y="3862145"/>
                  <a:pt x="10736101" y="3862150"/>
                </a:cubicBezTo>
                <a:lnTo>
                  <a:pt x="10736641" y="3868787"/>
                </a:lnTo>
                <a:cubicBezTo>
                  <a:pt x="10741698" y="3898794"/>
                  <a:pt x="10744148" y="3929436"/>
                  <a:pt x="10744105" y="3960518"/>
                </a:cubicBezTo>
                <a:cubicBezTo>
                  <a:pt x="10745417" y="3966104"/>
                  <a:pt x="10745476" y="3971728"/>
                  <a:pt x="10745476" y="3977366"/>
                </a:cubicBezTo>
                <a:cubicBezTo>
                  <a:pt x="10745476" y="3981158"/>
                  <a:pt x="10745449" y="3984944"/>
                  <a:pt x="10744883" y="3988716"/>
                </a:cubicBezTo>
                <a:lnTo>
                  <a:pt x="10744384" y="3988683"/>
                </a:lnTo>
                <a:lnTo>
                  <a:pt x="10744358" y="3989174"/>
                </a:lnTo>
                <a:lnTo>
                  <a:pt x="10727240" y="3987561"/>
                </a:lnTo>
                <a:cubicBezTo>
                  <a:pt x="10694865" y="3987038"/>
                  <a:pt x="10662985" y="3984080"/>
                  <a:pt x="10631813" y="3978570"/>
                </a:cubicBezTo>
                <a:cubicBezTo>
                  <a:pt x="10626236" y="3978986"/>
                  <a:pt x="10620907" y="3978045"/>
                  <a:pt x="10615596" y="3977042"/>
                </a:cubicBezTo>
                <a:lnTo>
                  <a:pt x="10615480" y="3975903"/>
                </a:lnTo>
                <a:cubicBezTo>
                  <a:pt x="10256629" y="3916971"/>
                  <a:pt x="9975590" y="3638399"/>
                  <a:pt x="9925315" y="3288305"/>
                </a:cubicBezTo>
                <a:cubicBezTo>
                  <a:pt x="9925147" y="3288253"/>
                  <a:pt x="9924979" y="3288248"/>
                  <a:pt x="9924809" y="3288243"/>
                </a:cubicBezTo>
                <a:lnTo>
                  <a:pt x="9924271" y="3281619"/>
                </a:lnTo>
                <a:cubicBezTo>
                  <a:pt x="9919212" y="3251607"/>
                  <a:pt x="9916761" y="3220958"/>
                  <a:pt x="9916804" y="3189869"/>
                </a:cubicBezTo>
                <a:cubicBezTo>
                  <a:pt x="9915492" y="3184286"/>
                  <a:pt x="9915433" y="3178663"/>
                  <a:pt x="9915433" y="3173027"/>
                </a:cubicBezTo>
                <a:lnTo>
                  <a:pt x="9916027" y="3161677"/>
                </a:lnTo>
                <a:lnTo>
                  <a:pt x="9916525" y="3161709"/>
                </a:lnTo>
                <a:close/>
                <a:moveTo>
                  <a:pt x="9902763" y="3161219"/>
                </a:moveTo>
                <a:lnTo>
                  <a:pt x="9902789" y="3161709"/>
                </a:lnTo>
                <a:lnTo>
                  <a:pt x="9903287" y="3161677"/>
                </a:lnTo>
                <a:lnTo>
                  <a:pt x="9903881" y="3173027"/>
                </a:lnTo>
                <a:cubicBezTo>
                  <a:pt x="9903881" y="3178663"/>
                  <a:pt x="9903822" y="3184286"/>
                  <a:pt x="9902510" y="3189869"/>
                </a:cubicBezTo>
                <a:cubicBezTo>
                  <a:pt x="9902553" y="3220958"/>
                  <a:pt x="9900102" y="3251607"/>
                  <a:pt x="9895043" y="3281619"/>
                </a:cubicBezTo>
                <a:lnTo>
                  <a:pt x="9894505" y="3288243"/>
                </a:lnTo>
                <a:cubicBezTo>
                  <a:pt x="9894335" y="3288248"/>
                  <a:pt x="9894167" y="3288253"/>
                  <a:pt x="9893999" y="3288305"/>
                </a:cubicBezTo>
                <a:cubicBezTo>
                  <a:pt x="9843724" y="3638399"/>
                  <a:pt x="9562685" y="3916971"/>
                  <a:pt x="9203834" y="3975903"/>
                </a:cubicBezTo>
                <a:lnTo>
                  <a:pt x="9203718" y="3977042"/>
                </a:lnTo>
                <a:cubicBezTo>
                  <a:pt x="9198407" y="3978045"/>
                  <a:pt x="9193078" y="3978986"/>
                  <a:pt x="9187501" y="3978570"/>
                </a:cubicBezTo>
                <a:cubicBezTo>
                  <a:pt x="9156329" y="3984080"/>
                  <a:pt x="9124449" y="3987038"/>
                  <a:pt x="9092074" y="3987561"/>
                </a:cubicBezTo>
                <a:lnTo>
                  <a:pt x="9074956" y="3989174"/>
                </a:lnTo>
                <a:lnTo>
                  <a:pt x="9074930" y="3988683"/>
                </a:lnTo>
                <a:lnTo>
                  <a:pt x="9074431" y="3988716"/>
                </a:lnTo>
                <a:cubicBezTo>
                  <a:pt x="9073865" y="3984944"/>
                  <a:pt x="9073838" y="3981158"/>
                  <a:pt x="9073838" y="3977366"/>
                </a:cubicBezTo>
                <a:cubicBezTo>
                  <a:pt x="9073838" y="3971728"/>
                  <a:pt x="9073897" y="3966104"/>
                  <a:pt x="9075209" y="3960518"/>
                </a:cubicBezTo>
                <a:cubicBezTo>
                  <a:pt x="9075166" y="3929436"/>
                  <a:pt x="9077616" y="3898794"/>
                  <a:pt x="9082673" y="3868787"/>
                </a:cubicBezTo>
                <a:lnTo>
                  <a:pt x="9083213" y="3862150"/>
                </a:lnTo>
                <a:cubicBezTo>
                  <a:pt x="9083382" y="3862145"/>
                  <a:pt x="9083551" y="3862140"/>
                  <a:pt x="9083718" y="3862087"/>
                </a:cubicBezTo>
                <a:cubicBezTo>
                  <a:pt x="9133995" y="3511992"/>
                  <a:pt x="9415034" y="3233421"/>
                  <a:pt x="9773884" y="3174489"/>
                </a:cubicBezTo>
                <a:lnTo>
                  <a:pt x="9774001" y="3173350"/>
                </a:lnTo>
                <a:cubicBezTo>
                  <a:pt x="9779310" y="3172348"/>
                  <a:pt x="9784638" y="3171407"/>
                  <a:pt x="9790214" y="3171823"/>
                </a:cubicBezTo>
                <a:cubicBezTo>
                  <a:pt x="9821397" y="3166310"/>
                  <a:pt x="9853290" y="3163352"/>
                  <a:pt x="9885676" y="3162829"/>
                </a:cubicBezTo>
                <a:close/>
                <a:moveTo>
                  <a:pt x="8224400" y="3161219"/>
                </a:moveTo>
                <a:lnTo>
                  <a:pt x="8241488" y="3162829"/>
                </a:lnTo>
                <a:cubicBezTo>
                  <a:pt x="8273873" y="3163352"/>
                  <a:pt x="8305766" y="3166310"/>
                  <a:pt x="8336949" y="3171823"/>
                </a:cubicBezTo>
                <a:cubicBezTo>
                  <a:pt x="8342525" y="3171407"/>
                  <a:pt x="8347853" y="3172348"/>
                  <a:pt x="8353162" y="3173350"/>
                </a:cubicBezTo>
                <a:lnTo>
                  <a:pt x="8353279" y="3174489"/>
                </a:lnTo>
                <a:cubicBezTo>
                  <a:pt x="8712129" y="3233421"/>
                  <a:pt x="8993168" y="3511992"/>
                  <a:pt x="9043444" y="3862087"/>
                </a:cubicBezTo>
                <a:cubicBezTo>
                  <a:pt x="9043612" y="3862140"/>
                  <a:pt x="9043781" y="3862145"/>
                  <a:pt x="9043950" y="3862150"/>
                </a:cubicBezTo>
                <a:lnTo>
                  <a:pt x="9044490" y="3868787"/>
                </a:lnTo>
                <a:cubicBezTo>
                  <a:pt x="9049547" y="3898794"/>
                  <a:pt x="9051997" y="3929436"/>
                  <a:pt x="9051954" y="3960518"/>
                </a:cubicBezTo>
                <a:cubicBezTo>
                  <a:pt x="9053266" y="3966104"/>
                  <a:pt x="9053325" y="3971728"/>
                  <a:pt x="9053325" y="3977366"/>
                </a:cubicBezTo>
                <a:cubicBezTo>
                  <a:pt x="9053325" y="3981158"/>
                  <a:pt x="9053298" y="3984944"/>
                  <a:pt x="9052732" y="3988716"/>
                </a:cubicBezTo>
                <a:lnTo>
                  <a:pt x="9052233" y="3988683"/>
                </a:lnTo>
                <a:lnTo>
                  <a:pt x="9052207" y="3989174"/>
                </a:lnTo>
                <a:lnTo>
                  <a:pt x="9035089" y="3987561"/>
                </a:lnTo>
                <a:cubicBezTo>
                  <a:pt x="9002714" y="3987038"/>
                  <a:pt x="8970834" y="3984080"/>
                  <a:pt x="8939662" y="3978570"/>
                </a:cubicBezTo>
                <a:cubicBezTo>
                  <a:pt x="8934085" y="3978986"/>
                  <a:pt x="8928756" y="3978045"/>
                  <a:pt x="8923445" y="3977042"/>
                </a:cubicBezTo>
                <a:lnTo>
                  <a:pt x="8923329" y="3975903"/>
                </a:lnTo>
                <a:cubicBezTo>
                  <a:pt x="8564478" y="3916971"/>
                  <a:pt x="8283439" y="3638399"/>
                  <a:pt x="8233164" y="3288305"/>
                </a:cubicBezTo>
                <a:cubicBezTo>
                  <a:pt x="8232996" y="3288253"/>
                  <a:pt x="8232828" y="3288248"/>
                  <a:pt x="8232658" y="3288243"/>
                </a:cubicBezTo>
                <a:lnTo>
                  <a:pt x="8232120" y="3281619"/>
                </a:lnTo>
                <a:cubicBezTo>
                  <a:pt x="8227061" y="3251607"/>
                  <a:pt x="8224611" y="3220958"/>
                  <a:pt x="8224653" y="3189869"/>
                </a:cubicBezTo>
                <a:cubicBezTo>
                  <a:pt x="8223341" y="3184286"/>
                  <a:pt x="8223282" y="3178663"/>
                  <a:pt x="8223282" y="3173027"/>
                </a:cubicBezTo>
                <a:lnTo>
                  <a:pt x="8223876" y="3161677"/>
                </a:lnTo>
                <a:lnTo>
                  <a:pt x="8224374" y="3161709"/>
                </a:lnTo>
                <a:close/>
                <a:moveTo>
                  <a:pt x="8210612" y="3161219"/>
                </a:moveTo>
                <a:lnTo>
                  <a:pt x="8210638" y="3161709"/>
                </a:lnTo>
                <a:lnTo>
                  <a:pt x="8211136" y="3161677"/>
                </a:lnTo>
                <a:lnTo>
                  <a:pt x="8211730" y="3173027"/>
                </a:lnTo>
                <a:cubicBezTo>
                  <a:pt x="8211730" y="3178663"/>
                  <a:pt x="8211672" y="3184286"/>
                  <a:pt x="8210360" y="3189869"/>
                </a:cubicBezTo>
                <a:cubicBezTo>
                  <a:pt x="8210402" y="3220958"/>
                  <a:pt x="8207951" y="3251607"/>
                  <a:pt x="8202893" y="3281619"/>
                </a:cubicBezTo>
                <a:lnTo>
                  <a:pt x="8202354" y="3288243"/>
                </a:lnTo>
                <a:cubicBezTo>
                  <a:pt x="8202185" y="3288248"/>
                  <a:pt x="8202016" y="3288253"/>
                  <a:pt x="8201849" y="3288305"/>
                </a:cubicBezTo>
                <a:cubicBezTo>
                  <a:pt x="8151573" y="3638399"/>
                  <a:pt x="7870534" y="3916971"/>
                  <a:pt x="7511683" y="3975903"/>
                </a:cubicBezTo>
                <a:lnTo>
                  <a:pt x="7511567" y="3977042"/>
                </a:lnTo>
                <a:cubicBezTo>
                  <a:pt x="7506256" y="3978045"/>
                  <a:pt x="7500927" y="3978986"/>
                  <a:pt x="7495350" y="3978570"/>
                </a:cubicBezTo>
                <a:cubicBezTo>
                  <a:pt x="7464178" y="3984080"/>
                  <a:pt x="7432298" y="3987038"/>
                  <a:pt x="7399924" y="3987561"/>
                </a:cubicBezTo>
                <a:lnTo>
                  <a:pt x="7382805" y="3989174"/>
                </a:lnTo>
                <a:lnTo>
                  <a:pt x="7382779" y="3988683"/>
                </a:lnTo>
                <a:lnTo>
                  <a:pt x="7382280" y="3988716"/>
                </a:lnTo>
                <a:cubicBezTo>
                  <a:pt x="7381714" y="3984944"/>
                  <a:pt x="7381687" y="3981158"/>
                  <a:pt x="7381687" y="3977366"/>
                </a:cubicBezTo>
                <a:cubicBezTo>
                  <a:pt x="7381687" y="3971728"/>
                  <a:pt x="7381746" y="3966104"/>
                  <a:pt x="7383058" y="3960518"/>
                </a:cubicBezTo>
                <a:cubicBezTo>
                  <a:pt x="7383016" y="3929436"/>
                  <a:pt x="7385465" y="3898794"/>
                  <a:pt x="7390522" y="3868787"/>
                </a:cubicBezTo>
                <a:lnTo>
                  <a:pt x="7391062" y="3862150"/>
                </a:lnTo>
                <a:cubicBezTo>
                  <a:pt x="7391231" y="3862145"/>
                  <a:pt x="7391400" y="3862140"/>
                  <a:pt x="7391568" y="3862087"/>
                </a:cubicBezTo>
                <a:cubicBezTo>
                  <a:pt x="7441844" y="3511992"/>
                  <a:pt x="7722883" y="3233421"/>
                  <a:pt x="8081734" y="3174489"/>
                </a:cubicBezTo>
                <a:lnTo>
                  <a:pt x="8081851" y="3173350"/>
                </a:lnTo>
                <a:cubicBezTo>
                  <a:pt x="8087159" y="3172348"/>
                  <a:pt x="8092487" y="3171407"/>
                  <a:pt x="8098063" y="3171823"/>
                </a:cubicBezTo>
                <a:cubicBezTo>
                  <a:pt x="8129247" y="3166310"/>
                  <a:pt x="8161139" y="3163352"/>
                  <a:pt x="8193525" y="3162829"/>
                </a:cubicBezTo>
                <a:close/>
                <a:moveTo>
                  <a:pt x="6532249" y="3161219"/>
                </a:moveTo>
                <a:lnTo>
                  <a:pt x="6549337" y="3162829"/>
                </a:lnTo>
                <a:cubicBezTo>
                  <a:pt x="6581722" y="3163352"/>
                  <a:pt x="6613615" y="3166310"/>
                  <a:pt x="6644798" y="3171823"/>
                </a:cubicBezTo>
                <a:cubicBezTo>
                  <a:pt x="6650374" y="3171407"/>
                  <a:pt x="6655702" y="3172348"/>
                  <a:pt x="6661011" y="3173350"/>
                </a:cubicBezTo>
                <a:lnTo>
                  <a:pt x="6661128" y="3174489"/>
                </a:lnTo>
                <a:cubicBezTo>
                  <a:pt x="7019978" y="3233421"/>
                  <a:pt x="7301017" y="3511992"/>
                  <a:pt x="7351294" y="3862087"/>
                </a:cubicBezTo>
                <a:cubicBezTo>
                  <a:pt x="7351461" y="3862140"/>
                  <a:pt x="7351631" y="3862145"/>
                  <a:pt x="7351799" y="3862150"/>
                </a:cubicBezTo>
                <a:lnTo>
                  <a:pt x="7352340" y="3868787"/>
                </a:lnTo>
                <a:cubicBezTo>
                  <a:pt x="7357396" y="3898794"/>
                  <a:pt x="7359846" y="3929436"/>
                  <a:pt x="7359804" y="3960518"/>
                </a:cubicBezTo>
                <a:cubicBezTo>
                  <a:pt x="7361116" y="3966104"/>
                  <a:pt x="7361174" y="3971728"/>
                  <a:pt x="7361174" y="3977366"/>
                </a:cubicBezTo>
                <a:cubicBezTo>
                  <a:pt x="7361174" y="3981158"/>
                  <a:pt x="7361147" y="3984944"/>
                  <a:pt x="7360581" y="3988716"/>
                </a:cubicBezTo>
                <a:lnTo>
                  <a:pt x="7360082" y="3988683"/>
                </a:lnTo>
                <a:lnTo>
                  <a:pt x="7360056" y="3989174"/>
                </a:lnTo>
                <a:lnTo>
                  <a:pt x="7342938" y="3987561"/>
                </a:lnTo>
                <a:cubicBezTo>
                  <a:pt x="7310564" y="3987038"/>
                  <a:pt x="7278683" y="3984080"/>
                  <a:pt x="7247511" y="3978570"/>
                </a:cubicBezTo>
                <a:cubicBezTo>
                  <a:pt x="7241934" y="3978986"/>
                  <a:pt x="7236605" y="3978045"/>
                  <a:pt x="7231295" y="3977042"/>
                </a:cubicBezTo>
                <a:lnTo>
                  <a:pt x="7231179" y="3975903"/>
                </a:lnTo>
                <a:cubicBezTo>
                  <a:pt x="6872327" y="3916971"/>
                  <a:pt x="6591288" y="3638399"/>
                  <a:pt x="6541013" y="3288305"/>
                </a:cubicBezTo>
                <a:cubicBezTo>
                  <a:pt x="6540845" y="3288253"/>
                  <a:pt x="6540677" y="3288248"/>
                  <a:pt x="6540507" y="3288243"/>
                </a:cubicBezTo>
                <a:lnTo>
                  <a:pt x="6539969" y="3281619"/>
                </a:lnTo>
                <a:cubicBezTo>
                  <a:pt x="6534910" y="3251607"/>
                  <a:pt x="6532460" y="3220958"/>
                  <a:pt x="6532502" y="3189869"/>
                </a:cubicBezTo>
                <a:cubicBezTo>
                  <a:pt x="6531190" y="3184286"/>
                  <a:pt x="6531131" y="3178663"/>
                  <a:pt x="6531131" y="3173027"/>
                </a:cubicBezTo>
                <a:lnTo>
                  <a:pt x="6531725" y="3161677"/>
                </a:lnTo>
                <a:lnTo>
                  <a:pt x="6532223" y="3161709"/>
                </a:lnTo>
                <a:close/>
                <a:moveTo>
                  <a:pt x="6518461" y="3161219"/>
                </a:moveTo>
                <a:lnTo>
                  <a:pt x="6518487" y="3161709"/>
                </a:lnTo>
                <a:lnTo>
                  <a:pt x="6518985" y="3161677"/>
                </a:lnTo>
                <a:lnTo>
                  <a:pt x="6519579" y="3173027"/>
                </a:lnTo>
                <a:cubicBezTo>
                  <a:pt x="6519579" y="3178663"/>
                  <a:pt x="6519520" y="3184286"/>
                  <a:pt x="6518208" y="3189869"/>
                </a:cubicBezTo>
                <a:cubicBezTo>
                  <a:pt x="6518250" y="3220958"/>
                  <a:pt x="6515800" y="3251607"/>
                  <a:pt x="6510741" y="3281619"/>
                </a:cubicBezTo>
                <a:lnTo>
                  <a:pt x="6510203" y="3288243"/>
                </a:lnTo>
                <a:cubicBezTo>
                  <a:pt x="6510033" y="3288248"/>
                  <a:pt x="6509865" y="3288253"/>
                  <a:pt x="6509697" y="3288305"/>
                </a:cubicBezTo>
                <a:cubicBezTo>
                  <a:pt x="6459422" y="3638399"/>
                  <a:pt x="6178383" y="3916971"/>
                  <a:pt x="5819531" y="3975903"/>
                </a:cubicBezTo>
                <a:lnTo>
                  <a:pt x="5819415" y="3977042"/>
                </a:lnTo>
                <a:cubicBezTo>
                  <a:pt x="5814105" y="3978045"/>
                  <a:pt x="5808776" y="3978986"/>
                  <a:pt x="5803199" y="3978570"/>
                </a:cubicBezTo>
                <a:cubicBezTo>
                  <a:pt x="5772027" y="3984080"/>
                  <a:pt x="5740146" y="3987038"/>
                  <a:pt x="5707772" y="3987561"/>
                </a:cubicBezTo>
                <a:lnTo>
                  <a:pt x="5690654" y="3989174"/>
                </a:lnTo>
                <a:lnTo>
                  <a:pt x="5690628" y="3988683"/>
                </a:lnTo>
                <a:lnTo>
                  <a:pt x="5690129" y="3988716"/>
                </a:lnTo>
                <a:cubicBezTo>
                  <a:pt x="5689563" y="3984944"/>
                  <a:pt x="5689536" y="3981158"/>
                  <a:pt x="5689536" y="3977366"/>
                </a:cubicBezTo>
                <a:cubicBezTo>
                  <a:pt x="5689536" y="3971728"/>
                  <a:pt x="5689594" y="3966104"/>
                  <a:pt x="5690906" y="3960518"/>
                </a:cubicBezTo>
                <a:cubicBezTo>
                  <a:pt x="5690864" y="3929436"/>
                  <a:pt x="5693314" y="3898794"/>
                  <a:pt x="5698370" y="3868787"/>
                </a:cubicBezTo>
                <a:lnTo>
                  <a:pt x="5698911" y="3862150"/>
                </a:lnTo>
                <a:cubicBezTo>
                  <a:pt x="5699079" y="3862145"/>
                  <a:pt x="5699249" y="3862140"/>
                  <a:pt x="5699416" y="3862087"/>
                </a:cubicBezTo>
                <a:cubicBezTo>
                  <a:pt x="5749693" y="3511992"/>
                  <a:pt x="6030732" y="3233421"/>
                  <a:pt x="6389582" y="3174489"/>
                </a:cubicBezTo>
                <a:lnTo>
                  <a:pt x="6389699" y="3173350"/>
                </a:lnTo>
                <a:cubicBezTo>
                  <a:pt x="6395008" y="3172348"/>
                  <a:pt x="6400336" y="3171407"/>
                  <a:pt x="6405912" y="3171823"/>
                </a:cubicBezTo>
                <a:cubicBezTo>
                  <a:pt x="6437095" y="3166310"/>
                  <a:pt x="6468988" y="3163352"/>
                  <a:pt x="6501373" y="3162829"/>
                </a:cubicBezTo>
                <a:close/>
                <a:moveTo>
                  <a:pt x="4840098" y="3161219"/>
                </a:moveTo>
                <a:lnTo>
                  <a:pt x="4857185" y="3162829"/>
                </a:lnTo>
                <a:cubicBezTo>
                  <a:pt x="4889571" y="3163352"/>
                  <a:pt x="4921463" y="3166310"/>
                  <a:pt x="4952647" y="3171823"/>
                </a:cubicBezTo>
                <a:cubicBezTo>
                  <a:pt x="4958223" y="3171407"/>
                  <a:pt x="4963551" y="3172348"/>
                  <a:pt x="4968859" y="3173350"/>
                </a:cubicBezTo>
                <a:lnTo>
                  <a:pt x="4968976" y="3174489"/>
                </a:lnTo>
                <a:cubicBezTo>
                  <a:pt x="5327827" y="3233421"/>
                  <a:pt x="5608866" y="3511992"/>
                  <a:pt x="5659142" y="3862087"/>
                </a:cubicBezTo>
                <a:cubicBezTo>
                  <a:pt x="5659310" y="3862140"/>
                  <a:pt x="5659479" y="3862145"/>
                  <a:pt x="5659648" y="3862150"/>
                </a:cubicBezTo>
                <a:lnTo>
                  <a:pt x="5660188" y="3868787"/>
                </a:lnTo>
                <a:cubicBezTo>
                  <a:pt x="5665245" y="3898794"/>
                  <a:pt x="5667694" y="3929436"/>
                  <a:pt x="5667652" y="3960518"/>
                </a:cubicBezTo>
                <a:cubicBezTo>
                  <a:pt x="5668964" y="3966104"/>
                  <a:pt x="5669023" y="3971728"/>
                  <a:pt x="5669023" y="3977366"/>
                </a:cubicBezTo>
                <a:cubicBezTo>
                  <a:pt x="5669023" y="3981158"/>
                  <a:pt x="5668996" y="3984944"/>
                  <a:pt x="5668430" y="3988716"/>
                </a:cubicBezTo>
                <a:lnTo>
                  <a:pt x="5667931" y="3988683"/>
                </a:lnTo>
                <a:lnTo>
                  <a:pt x="5667905" y="3989174"/>
                </a:lnTo>
                <a:lnTo>
                  <a:pt x="5650786" y="3987561"/>
                </a:lnTo>
                <a:cubicBezTo>
                  <a:pt x="5618412" y="3987038"/>
                  <a:pt x="5586532" y="3984080"/>
                  <a:pt x="5555360" y="3978570"/>
                </a:cubicBezTo>
                <a:cubicBezTo>
                  <a:pt x="5549783" y="3978986"/>
                  <a:pt x="5544454" y="3978045"/>
                  <a:pt x="5539143" y="3977042"/>
                </a:cubicBezTo>
                <a:lnTo>
                  <a:pt x="5539027" y="3975903"/>
                </a:lnTo>
                <a:cubicBezTo>
                  <a:pt x="5180176" y="3916971"/>
                  <a:pt x="4899137" y="3638399"/>
                  <a:pt x="4848861" y="3288305"/>
                </a:cubicBezTo>
                <a:cubicBezTo>
                  <a:pt x="4848694" y="3288253"/>
                  <a:pt x="4848525" y="3288248"/>
                  <a:pt x="4848356" y="3288243"/>
                </a:cubicBezTo>
                <a:lnTo>
                  <a:pt x="4847817" y="3281619"/>
                </a:lnTo>
                <a:cubicBezTo>
                  <a:pt x="4842759" y="3251607"/>
                  <a:pt x="4840308" y="3220958"/>
                  <a:pt x="4840350" y="3189869"/>
                </a:cubicBezTo>
                <a:cubicBezTo>
                  <a:pt x="4839038" y="3184286"/>
                  <a:pt x="4838980" y="3178663"/>
                  <a:pt x="4838980" y="3173027"/>
                </a:cubicBezTo>
                <a:lnTo>
                  <a:pt x="4839574" y="3161677"/>
                </a:lnTo>
                <a:lnTo>
                  <a:pt x="4840072" y="3161709"/>
                </a:lnTo>
                <a:close/>
                <a:moveTo>
                  <a:pt x="4826310" y="3161219"/>
                </a:moveTo>
                <a:lnTo>
                  <a:pt x="4826336" y="3161709"/>
                </a:lnTo>
                <a:lnTo>
                  <a:pt x="4826834" y="3161677"/>
                </a:lnTo>
                <a:lnTo>
                  <a:pt x="4827428" y="3173027"/>
                </a:lnTo>
                <a:cubicBezTo>
                  <a:pt x="4827428" y="3178663"/>
                  <a:pt x="4827369" y="3184286"/>
                  <a:pt x="4826057" y="3189869"/>
                </a:cubicBezTo>
                <a:cubicBezTo>
                  <a:pt x="4826099" y="3220958"/>
                  <a:pt x="4823649" y="3251607"/>
                  <a:pt x="4818590" y="3281619"/>
                </a:cubicBezTo>
                <a:lnTo>
                  <a:pt x="4818052" y="3288243"/>
                </a:lnTo>
                <a:cubicBezTo>
                  <a:pt x="4817882" y="3288248"/>
                  <a:pt x="4817714" y="3288253"/>
                  <a:pt x="4817546" y="3288305"/>
                </a:cubicBezTo>
                <a:cubicBezTo>
                  <a:pt x="4767271" y="3638399"/>
                  <a:pt x="4486232" y="3916971"/>
                  <a:pt x="4127381" y="3975903"/>
                </a:cubicBezTo>
                <a:lnTo>
                  <a:pt x="4127264" y="3977042"/>
                </a:lnTo>
                <a:cubicBezTo>
                  <a:pt x="4121954" y="3978045"/>
                  <a:pt x="4116625" y="3978986"/>
                  <a:pt x="4111048" y="3978570"/>
                </a:cubicBezTo>
                <a:cubicBezTo>
                  <a:pt x="4079876" y="3984080"/>
                  <a:pt x="4047996" y="3987038"/>
                  <a:pt x="4015621" y="3987561"/>
                </a:cubicBezTo>
                <a:lnTo>
                  <a:pt x="3998503" y="3989174"/>
                </a:lnTo>
                <a:lnTo>
                  <a:pt x="3998477" y="3988683"/>
                </a:lnTo>
                <a:lnTo>
                  <a:pt x="3997978" y="3988716"/>
                </a:lnTo>
                <a:cubicBezTo>
                  <a:pt x="3997412" y="3984944"/>
                  <a:pt x="3997385" y="3981158"/>
                  <a:pt x="3997385" y="3977366"/>
                </a:cubicBezTo>
                <a:cubicBezTo>
                  <a:pt x="3997385" y="3971728"/>
                  <a:pt x="3997443" y="3966104"/>
                  <a:pt x="3998755" y="3960518"/>
                </a:cubicBezTo>
                <a:cubicBezTo>
                  <a:pt x="3998713" y="3929436"/>
                  <a:pt x="4001163" y="3898794"/>
                  <a:pt x="4006219" y="3868787"/>
                </a:cubicBezTo>
                <a:lnTo>
                  <a:pt x="4006760" y="3862150"/>
                </a:lnTo>
                <a:cubicBezTo>
                  <a:pt x="4006928" y="3862145"/>
                  <a:pt x="4007098" y="3862140"/>
                  <a:pt x="4007265" y="3862087"/>
                </a:cubicBezTo>
                <a:cubicBezTo>
                  <a:pt x="4057542" y="3511992"/>
                  <a:pt x="4338581" y="3233421"/>
                  <a:pt x="4697431" y="3174489"/>
                </a:cubicBezTo>
                <a:lnTo>
                  <a:pt x="4697548" y="3173350"/>
                </a:lnTo>
                <a:cubicBezTo>
                  <a:pt x="4702857" y="3172348"/>
                  <a:pt x="4708185" y="3171407"/>
                  <a:pt x="4713761" y="3171823"/>
                </a:cubicBezTo>
                <a:cubicBezTo>
                  <a:pt x="4744944" y="3166310"/>
                  <a:pt x="4776837" y="3163352"/>
                  <a:pt x="4809222" y="3162829"/>
                </a:cubicBezTo>
                <a:close/>
                <a:moveTo>
                  <a:pt x="3147947" y="3161219"/>
                </a:moveTo>
                <a:lnTo>
                  <a:pt x="3165034" y="3162829"/>
                </a:lnTo>
                <a:cubicBezTo>
                  <a:pt x="3197420" y="3163352"/>
                  <a:pt x="3229312" y="3166310"/>
                  <a:pt x="3260496" y="3171823"/>
                </a:cubicBezTo>
                <a:cubicBezTo>
                  <a:pt x="3266072" y="3171407"/>
                  <a:pt x="3271400" y="3172348"/>
                  <a:pt x="3276708" y="3173350"/>
                </a:cubicBezTo>
                <a:lnTo>
                  <a:pt x="3276826" y="3174489"/>
                </a:lnTo>
                <a:cubicBezTo>
                  <a:pt x="3635676" y="3233421"/>
                  <a:pt x="3916715" y="3511992"/>
                  <a:pt x="3966991" y="3862087"/>
                </a:cubicBezTo>
                <a:cubicBezTo>
                  <a:pt x="3967159" y="3862140"/>
                  <a:pt x="3967328" y="3862145"/>
                  <a:pt x="3967497" y="3862150"/>
                </a:cubicBezTo>
                <a:lnTo>
                  <a:pt x="3968037" y="3868787"/>
                </a:lnTo>
                <a:cubicBezTo>
                  <a:pt x="3973094" y="3898794"/>
                  <a:pt x="3975543" y="3929436"/>
                  <a:pt x="3975501" y="3960518"/>
                </a:cubicBezTo>
                <a:cubicBezTo>
                  <a:pt x="3976813" y="3966104"/>
                  <a:pt x="3976872" y="3971728"/>
                  <a:pt x="3976872" y="3977366"/>
                </a:cubicBezTo>
                <a:cubicBezTo>
                  <a:pt x="3976872" y="3981158"/>
                  <a:pt x="3976845" y="3984944"/>
                  <a:pt x="3976279" y="3988716"/>
                </a:cubicBezTo>
                <a:lnTo>
                  <a:pt x="3975780" y="3988683"/>
                </a:lnTo>
                <a:lnTo>
                  <a:pt x="3975754" y="3989174"/>
                </a:lnTo>
                <a:lnTo>
                  <a:pt x="3958635" y="3987561"/>
                </a:lnTo>
                <a:cubicBezTo>
                  <a:pt x="3926261" y="3987038"/>
                  <a:pt x="3894381" y="3984080"/>
                  <a:pt x="3863209" y="3978570"/>
                </a:cubicBezTo>
                <a:cubicBezTo>
                  <a:pt x="3857632" y="3978986"/>
                  <a:pt x="3852303" y="3978045"/>
                  <a:pt x="3846992" y="3977042"/>
                </a:cubicBezTo>
                <a:lnTo>
                  <a:pt x="3846876" y="3975903"/>
                </a:lnTo>
                <a:cubicBezTo>
                  <a:pt x="3488025" y="3916971"/>
                  <a:pt x="3206986" y="3638399"/>
                  <a:pt x="3156710" y="3288305"/>
                </a:cubicBezTo>
                <a:cubicBezTo>
                  <a:pt x="3156543" y="3288253"/>
                  <a:pt x="3156374" y="3288248"/>
                  <a:pt x="3156205" y="3288243"/>
                </a:cubicBezTo>
                <a:lnTo>
                  <a:pt x="3155667" y="3281619"/>
                </a:lnTo>
                <a:cubicBezTo>
                  <a:pt x="3150608" y="3251607"/>
                  <a:pt x="3148157" y="3220958"/>
                  <a:pt x="3148199" y="3189869"/>
                </a:cubicBezTo>
                <a:cubicBezTo>
                  <a:pt x="3146887" y="3184286"/>
                  <a:pt x="3146829" y="3178663"/>
                  <a:pt x="3146829" y="3173027"/>
                </a:cubicBezTo>
                <a:lnTo>
                  <a:pt x="3147423" y="3161677"/>
                </a:lnTo>
                <a:lnTo>
                  <a:pt x="3147921" y="3161709"/>
                </a:lnTo>
                <a:close/>
                <a:moveTo>
                  <a:pt x="3134159" y="3161219"/>
                </a:moveTo>
                <a:lnTo>
                  <a:pt x="3134185" y="3161709"/>
                </a:lnTo>
                <a:lnTo>
                  <a:pt x="3134683" y="3161677"/>
                </a:lnTo>
                <a:lnTo>
                  <a:pt x="3135277" y="3173027"/>
                </a:lnTo>
                <a:cubicBezTo>
                  <a:pt x="3135277" y="3178663"/>
                  <a:pt x="3135218" y="3184286"/>
                  <a:pt x="3133906" y="3189869"/>
                </a:cubicBezTo>
                <a:cubicBezTo>
                  <a:pt x="3133948" y="3220958"/>
                  <a:pt x="3131498" y="3251607"/>
                  <a:pt x="3126439" y="3281619"/>
                </a:cubicBezTo>
                <a:lnTo>
                  <a:pt x="3125901" y="3288243"/>
                </a:lnTo>
                <a:cubicBezTo>
                  <a:pt x="3125731" y="3288248"/>
                  <a:pt x="3125563" y="3288253"/>
                  <a:pt x="3125395" y="3288305"/>
                </a:cubicBezTo>
                <a:cubicBezTo>
                  <a:pt x="3075120" y="3638399"/>
                  <a:pt x="2794081" y="3916971"/>
                  <a:pt x="2435230" y="3975903"/>
                </a:cubicBezTo>
                <a:lnTo>
                  <a:pt x="2435113" y="3977042"/>
                </a:lnTo>
                <a:cubicBezTo>
                  <a:pt x="2429803" y="3978045"/>
                  <a:pt x="2424474" y="3978986"/>
                  <a:pt x="2418897" y="3978570"/>
                </a:cubicBezTo>
                <a:cubicBezTo>
                  <a:pt x="2387725" y="3984080"/>
                  <a:pt x="2355845" y="3987038"/>
                  <a:pt x="2323470" y="3987561"/>
                </a:cubicBezTo>
                <a:lnTo>
                  <a:pt x="2306352" y="3989174"/>
                </a:lnTo>
                <a:lnTo>
                  <a:pt x="2306326" y="3988683"/>
                </a:lnTo>
                <a:lnTo>
                  <a:pt x="2305827" y="3988716"/>
                </a:lnTo>
                <a:cubicBezTo>
                  <a:pt x="2305261" y="3984944"/>
                  <a:pt x="2305234" y="3981158"/>
                  <a:pt x="2305234" y="3977366"/>
                </a:cubicBezTo>
                <a:cubicBezTo>
                  <a:pt x="2305234" y="3971728"/>
                  <a:pt x="2305292" y="3966104"/>
                  <a:pt x="2306604" y="3960518"/>
                </a:cubicBezTo>
                <a:cubicBezTo>
                  <a:pt x="2306562" y="3929436"/>
                  <a:pt x="2309012" y="3898794"/>
                  <a:pt x="2314068" y="3868787"/>
                </a:cubicBezTo>
                <a:lnTo>
                  <a:pt x="2314609" y="3862150"/>
                </a:lnTo>
                <a:cubicBezTo>
                  <a:pt x="2314777" y="3862145"/>
                  <a:pt x="2314947" y="3862140"/>
                  <a:pt x="2315114" y="3862087"/>
                </a:cubicBezTo>
                <a:cubicBezTo>
                  <a:pt x="2365391" y="3511992"/>
                  <a:pt x="2646430" y="3233421"/>
                  <a:pt x="3005280" y="3174489"/>
                </a:cubicBezTo>
                <a:lnTo>
                  <a:pt x="3005397" y="3173350"/>
                </a:lnTo>
                <a:cubicBezTo>
                  <a:pt x="3010706" y="3172348"/>
                  <a:pt x="3016034" y="3171407"/>
                  <a:pt x="3021610" y="3171823"/>
                </a:cubicBezTo>
                <a:cubicBezTo>
                  <a:pt x="3052793" y="3166310"/>
                  <a:pt x="3084686" y="3163352"/>
                  <a:pt x="3117071" y="3162829"/>
                </a:cubicBezTo>
                <a:close/>
                <a:moveTo>
                  <a:pt x="1455796" y="3161219"/>
                </a:moveTo>
                <a:lnTo>
                  <a:pt x="1472883" y="3162829"/>
                </a:lnTo>
                <a:cubicBezTo>
                  <a:pt x="1505269" y="3163352"/>
                  <a:pt x="1537161" y="3166310"/>
                  <a:pt x="1568345" y="3171823"/>
                </a:cubicBezTo>
                <a:cubicBezTo>
                  <a:pt x="1573921" y="3171407"/>
                  <a:pt x="1579249" y="3172348"/>
                  <a:pt x="1584557" y="3173350"/>
                </a:cubicBezTo>
                <a:lnTo>
                  <a:pt x="1584675" y="3174489"/>
                </a:lnTo>
                <a:cubicBezTo>
                  <a:pt x="1943525" y="3233421"/>
                  <a:pt x="2224564" y="3511992"/>
                  <a:pt x="2274840" y="3862087"/>
                </a:cubicBezTo>
                <a:cubicBezTo>
                  <a:pt x="2275008" y="3862140"/>
                  <a:pt x="2275177" y="3862145"/>
                  <a:pt x="2275346" y="3862150"/>
                </a:cubicBezTo>
                <a:lnTo>
                  <a:pt x="2275886" y="3868787"/>
                </a:lnTo>
                <a:cubicBezTo>
                  <a:pt x="2280943" y="3898794"/>
                  <a:pt x="2283392" y="3929436"/>
                  <a:pt x="2283350" y="3960518"/>
                </a:cubicBezTo>
                <a:cubicBezTo>
                  <a:pt x="2284662" y="3966104"/>
                  <a:pt x="2284721" y="3971728"/>
                  <a:pt x="2284721" y="3977366"/>
                </a:cubicBezTo>
                <a:cubicBezTo>
                  <a:pt x="2284721" y="3981158"/>
                  <a:pt x="2284694" y="3984944"/>
                  <a:pt x="2284128" y="3988716"/>
                </a:cubicBezTo>
                <a:lnTo>
                  <a:pt x="2283629" y="3988683"/>
                </a:lnTo>
                <a:lnTo>
                  <a:pt x="2283603" y="3989174"/>
                </a:lnTo>
                <a:lnTo>
                  <a:pt x="2266484" y="3987561"/>
                </a:lnTo>
                <a:cubicBezTo>
                  <a:pt x="2234110" y="3987038"/>
                  <a:pt x="2202230" y="3984080"/>
                  <a:pt x="2171058" y="3978570"/>
                </a:cubicBezTo>
                <a:cubicBezTo>
                  <a:pt x="2165481" y="3978986"/>
                  <a:pt x="2160152" y="3978045"/>
                  <a:pt x="2154841" y="3977042"/>
                </a:cubicBezTo>
                <a:lnTo>
                  <a:pt x="2154725" y="3975903"/>
                </a:lnTo>
                <a:cubicBezTo>
                  <a:pt x="1795874" y="3916971"/>
                  <a:pt x="1514835" y="3638399"/>
                  <a:pt x="1464559" y="3288305"/>
                </a:cubicBezTo>
                <a:cubicBezTo>
                  <a:pt x="1464392" y="3288253"/>
                  <a:pt x="1464223" y="3288248"/>
                  <a:pt x="1464054" y="3288243"/>
                </a:cubicBezTo>
                <a:lnTo>
                  <a:pt x="1463515" y="3281619"/>
                </a:lnTo>
                <a:cubicBezTo>
                  <a:pt x="1458457" y="3251607"/>
                  <a:pt x="1456006" y="3220958"/>
                  <a:pt x="1456048" y="3189869"/>
                </a:cubicBezTo>
                <a:cubicBezTo>
                  <a:pt x="1454736" y="3184286"/>
                  <a:pt x="1454678" y="3178663"/>
                  <a:pt x="1454678" y="3173027"/>
                </a:cubicBezTo>
                <a:lnTo>
                  <a:pt x="1455272" y="3161677"/>
                </a:lnTo>
                <a:lnTo>
                  <a:pt x="1455770" y="3161709"/>
                </a:lnTo>
                <a:close/>
                <a:moveTo>
                  <a:pt x="1442008" y="3161219"/>
                </a:moveTo>
                <a:lnTo>
                  <a:pt x="1442034" y="3161709"/>
                </a:lnTo>
                <a:lnTo>
                  <a:pt x="1442532" y="3161677"/>
                </a:lnTo>
                <a:lnTo>
                  <a:pt x="1443126" y="3173027"/>
                </a:lnTo>
                <a:cubicBezTo>
                  <a:pt x="1443126" y="3178663"/>
                  <a:pt x="1443067" y="3184286"/>
                  <a:pt x="1441755" y="3189869"/>
                </a:cubicBezTo>
                <a:cubicBezTo>
                  <a:pt x="1441797" y="3220958"/>
                  <a:pt x="1439347" y="3251607"/>
                  <a:pt x="1434288" y="3281619"/>
                </a:cubicBezTo>
                <a:lnTo>
                  <a:pt x="1433750" y="3288243"/>
                </a:lnTo>
                <a:cubicBezTo>
                  <a:pt x="1433580" y="3288248"/>
                  <a:pt x="1433412" y="3288253"/>
                  <a:pt x="1433244" y="3288305"/>
                </a:cubicBezTo>
                <a:cubicBezTo>
                  <a:pt x="1382969" y="3638399"/>
                  <a:pt x="1101930" y="3916971"/>
                  <a:pt x="743079" y="3975903"/>
                </a:cubicBezTo>
                <a:lnTo>
                  <a:pt x="742962" y="3977042"/>
                </a:lnTo>
                <a:cubicBezTo>
                  <a:pt x="737652" y="3978045"/>
                  <a:pt x="732323" y="3978986"/>
                  <a:pt x="726746" y="3978570"/>
                </a:cubicBezTo>
                <a:cubicBezTo>
                  <a:pt x="695574" y="3984080"/>
                  <a:pt x="663693" y="3987038"/>
                  <a:pt x="631319" y="3987561"/>
                </a:cubicBezTo>
                <a:lnTo>
                  <a:pt x="614201" y="3989174"/>
                </a:lnTo>
                <a:lnTo>
                  <a:pt x="614175" y="3988683"/>
                </a:lnTo>
                <a:lnTo>
                  <a:pt x="613676" y="3988716"/>
                </a:lnTo>
                <a:cubicBezTo>
                  <a:pt x="613110" y="3984944"/>
                  <a:pt x="613083" y="3981158"/>
                  <a:pt x="613083" y="3977366"/>
                </a:cubicBezTo>
                <a:cubicBezTo>
                  <a:pt x="613083" y="3971728"/>
                  <a:pt x="613141" y="3966104"/>
                  <a:pt x="614453" y="3960518"/>
                </a:cubicBezTo>
                <a:cubicBezTo>
                  <a:pt x="614411" y="3929436"/>
                  <a:pt x="616861" y="3898794"/>
                  <a:pt x="621917" y="3868787"/>
                </a:cubicBezTo>
                <a:lnTo>
                  <a:pt x="622458" y="3862150"/>
                </a:lnTo>
                <a:cubicBezTo>
                  <a:pt x="622626" y="3862145"/>
                  <a:pt x="622796" y="3862140"/>
                  <a:pt x="622963" y="3862087"/>
                </a:cubicBezTo>
                <a:cubicBezTo>
                  <a:pt x="673240" y="3511992"/>
                  <a:pt x="954279" y="3233421"/>
                  <a:pt x="1313129" y="3174489"/>
                </a:cubicBezTo>
                <a:lnTo>
                  <a:pt x="1313246" y="3173350"/>
                </a:lnTo>
                <a:cubicBezTo>
                  <a:pt x="1318555" y="3172348"/>
                  <a:pt x="1323883" y="3171407"/>
                  <a:pt x="1329459" y="3171823"/>
                </a:cubicBezTo>
                <a:cubicBezTo>
                  <a:pt x="1360642" y="3166310"/>
                  <a:pt x="1392535" y="3163352"/>
                  <a:pt x="1424920" y="3162829"/>
                </a:cubicBezTo>
                <a:close/>
                <a:moveTo>
                  <a:pt x="10909360" y="2447425"/>
                </a:moveTo>
                <a:cubicBezTo>
                  <a:pt x="10962636" y="2718331"/>
                  <a:pt x="11177479" y="2933128"/>
                  <a:pt x="11452669" y="2992271"/>
                </a:cubicBezTo>
                <a:cubicBezTo>
                  <a:pt x="11399394" y="2721365"/>
                  <a:pt x="11184550" y="2506568"/>
                  <a:pt x="10909360" y="2447425"/>
                </a:cubicBezTo>
                <a:close/>
                <a:moveTo>
                  <a:pt x="10602109" y="2447425"/>
                </a:moveTo>
                <a:cubicBezTo>
                  <a:pt x="10326919" y="2506568"/>
                  <a:pt x="10112075" y="2721365"/>
                  <a:pt x="10058800" y="2992271"/>
                </a:cubicBezTo>
                <a:cubicBezTo>
                  <a:pt x="10333990" y="2933128"/>
                  <a:pt x="10548833" y="2718331"/>
                  <a:pt x="10602109" y="2447425"/>
                </a:cubicBezTo>
                <a:close/>
                <a:moveTo>
                  <a:pt x="9217207" y="2447425"/>
                </a:moveTo>
                <a:cubicBezTo>
                  <a:pt x="9270483" y="2718331"/>
                  <a:pt x="9485326" y="2933128"/>
                  <a:pt x="9760516" y="2992271"/>
                </a:cubicBezTo>
                <a:cubicBezTo>
                  <a:pt x="9707241" y="2721365"/>
                  <a:pt x="9492397" y="2506568"/>
                  <a:pt x="9217207" y="2447425"/>
                </a:cubicBezTo>
                <a:close/>
                <a:moveTo>
                  <a:pt x="8909958" y="2447425"/>
                </a:moveTo>
                <a:cubicBezTo>
                  <a:pt x="8634768" y="2506568"/>
                  <a:pt x="8419924" y="2721365"/>
                  <a:pt x="8366649" y="2992271"/>
                </a:cubicBezTo>
                <a:cubicBezTo>
                  <a:pt x="8641839" y="2933128"/>
                  <a:pt x="8856682" y="2718331"/>
                  <a:pt x="8909958" y="2447425"/>
                </a:cubicBezTo>
                <a:close/>
                <a:moveTo>
                  <a:pt x="7525056" y="2447425"/>
                </a:moveTo>
                <a:cubicBezTo>
                  <a:pt x="7578332" y="2718331"/>
                  <a:pt x="7793175" y="2933128"/>
                  <a:pt x="8068365" y="2992271"/>
                </a:cubicBezTo>
                <a:cubicBezTo>
                  <a:pt x="8015090" y="2721365"/>
                  <a:pt x="7800246" y="2506568"/>
                  <a:pt x="7525056" y="2447425"/>
                </a:cubicBezTo>
                <a:close/>
                <a:moveTo>
                  <a:pt x="7217807" y="2447425"/>
                </a:moveTo>
                <a:cubicBezTo>
                  <a:pt x="6942617" y="2506568"/>
                  <a:pt x="6727773" y="2721365"/>
                  <a:pt x="6674498" y="2992271"/>
                </a:cubicBezTo>
                <a:cubicBezTo>
                  <a:pt x="6949688" y="2933128"/>
                  <a:pt x="7164531" y="2718331"/>
                  <a:pt x="7217807" y="2447425"/>
                </a:cubicBezTo>
                <a:close/>
                <a:moveTo>
                  <a:pt x="5832905" y="2447425"/>
                </a:moveTo>
                <a:cubicBezTo>
                  <a:pt x="5886181" y="2718331"/>
                  <a:pt x="6101024" y="2933128"/>
                  <a:pt x="6376214" y="2992271"/>
                </a:cubicBezTo>
                <a:cubicBezTo>
                  <a:pt x="6322939" y="2721365"/>
                  <a:pt x="6108095" y="2506568"/>
                  <a:pt x="5832905" y="2447425"/>
                </a:cubicBezTo>
                <a:close/>
                <a:moveTo>
                  <a:pt x="5525656" y="2447425"/>
                </a:moveTo>
                <a:cubicBezTo>
                  <a:pt x="5250466" y="2506568"/>
                  <a:pt x="5035622" y="2721365"/>
                  <a:pt x="4982347" y="2992271"/>
                </a:cubicBezTo>
                <a:cubicBezTo>
                  <a:pt x="5257537" y="2933128"/>
                  <a:pt x="5472380" y="2718331"/>
                  <a:pt x="5525656" y="2447425"/>
                </a:cubicBezTo>
                <a:close/>
                <a:moveTo>
                  <a:pt x="4140754" y="2447425"/>
                </a:moveTo>
                <a:cubicBezTo>
                  <a:pt x="4194030" y="2718331"/>
                  <a:pt x="4408873" y="2933128"/>
                  <a:pt x="4684063" y="2992271"/>
                </a:cubicBezTo>
                <a:cubicBezTo>
                  <a:pt x="4630788" y="2721365"/>
                  <a:pt x="4415944" y="2506568"/>
                  <a:pt x="4140754" y="2447425"/>
                </a:cubicBezTo>
                <a:close/>
                <a:moveTo>
                  <a:pt x="3833505" y="2447425"/>
                </a:moveTo>
                <a:cubicBezTo>
                  <a:pt x="3558315" y="2506568"/>
                  <a:pt x="3343471" y="2721365"/>
                  <a:pt x="3290196" y="2992271"/>
                </a:cubicBezTo>
                <a:cubicBezTo>
                  <a:pt x="3565386" y="2933128"/>
                  <a:pt x="3780229" y="2718331"/>
                  <a:pt x="3833505" y="2447425"/>
                </a:cubicBezTo>
                <a:close/>
                <a:moveTo>
                  <a:pt x="2448603" y="2447425"/>
                </a:moveTo>
                <a:cubicBezTo>
                  <a:pt x="2501879" y="2718331"/>
                  <a:pt x="2716722" y="2933128"/>
                  <a:pt x="2991912" y="2992271"/>
                </a:cubicBezTo>
                <a:cubicBezTo>
                  <a:pt x="2938637" y="2721365"/>
                  <a:pt x="2723793" y="2506568"/>
                  <a:pt x="2448603" y="2447425"/>
                </a:cubicBezTo>
                <a:close/>
                <a:moveTo>
                  <a:pt x="2141354" y="2447425"/>
                </a:moveTo>
                <a:cubicBezTo>
                  <a:pt x="1866164" y="2506568"/>
                  <a:pt x="1651320" y="2721365"/>
                  <a:pt x="1598045" y="2992271"/>
                </a:cubicBezTo>
                <a:cubicBezTo>
                  <a:pt x="1873235" y="2933128"/>
                  <a:pt x="2088078" y="2718331"/>
                  <a:pt x="2141354" y="2447425"/>
                </a:cubicBezTo>
                <a:close/>
                <a:moveTo>
                  <a:pt x="756452" y="2447425"/>
                </a:moveTo>
                <a:cubicBezTo>
                  <a:pt x="809728" y="2718331"/>
                  <a:pt x="1024571" y="2933128"/>
                  <a:pt x="1299761" y="2992271"/>
                </a:cubicBezTo>
                <a:cubicBezTo>
                  <a:pt x="1246486" y="2721365"/>
                  <a:pt x="1031642" y="2506568"/>
                  <a:pt x="756452" y="2447425"/>
                </a:cubicBezTo>
                <a:close/>
                <a:moveTo>
                  <a:pt x="12192000" y="2344615"/>
                </a:moveTo>
                <a:lnTo>
                  <a:pt x="12192000" y="2477663"/>
                </a:lnTo>
                <a:cubicBezTo>
                  <a:pt x="11966807" y="2562375"/>
                  <a:pt x="11797421" y="2755980"/>
                  <a:pt x="11750953" y="2992271"/>
                </a:cubicBezTo>
                <a:cubicBezTo>
                  <a:pt x="11935988" y="2952504"/>
                  <a:pt x="12093739" y="2842365"/>
                  <a:pt x="12192000" y="2691161"/>
                </a:cubicBezTo>
                <a:lnTo>
                  <a:pt x="12192000" y="2892735"/>
                </a:lnTo>
                <a:cubicBezTo>
                  <a:pt x="12071770" y="3011736"/>
                  <a:pt x="11914089" y="3094511"/>
                  <a:pt x="11737582" y="3123727"/>
                </a:cubicBezTo>
                <a:lnTo>
                  <a:pt x="11737466" y="3124875"/>
                </a:lnTo>
                <a:cubicBezTo>
                  <a:pt x="11732155" y="3125886"/>
                  <a:pt x="11726826" y="3126834"/>
                  <a:pt x="11721249" y="3126415"/>
                </a:cubicBezTo>
                <a:cubicBezTo>
                  <a:pt x="11690077" y="3131969"/>
                  <a:pt x="11658197" y="3134950"/>
                  <a:pt x="11625822" y="3135477"/>
                </a:cubicBezTo>
                <a:lnTo>
                  <a:pt x="11608704" y="3137103"/>
                </a:lnTo>
                <a:lnTo>
                  <a:pt x="11608678" y="3136608"/>
                </a:lnTo>
                <a:lnTo>
                  <a:pt x="11608179" y="3136641"/>
                </a:lnTo>
                <a:cubicBezTo>
                  <a:pt x="11607613" y="3132839"/>
                  <a:pt x="11607586" y="3129023"/>
                  <a:pt x="11607586" y="3125201"/>
                </a:cubicBezTo>
                <a:cubicBezTo>
                  <a:pt x="11607586" y="3119519"/>
                  <a:pt x="11607645" y="3113850"/>
                  <a:pt x="11608957" y="3108220"/>
                </a:cubicBezTo>
                <a:cubicBezTo>
                  <a:pt x="11608914" y="3076892"/>
                  <a:pt x="11611364" y="3046007"/>
                  <a:pt x="11616421" y="3015763"/>
                </a:cubicBezTo>
                <a:lnTo>
                  <a:pt x="11616961" y="3009073"/>
                </a:lnTo>
                <a:cubicBezTo>
                  <a:pt x="11617130" y="3009068"/>
                  <a:pt x="11617299" y="3009063"/>
                  <a:pt x="11617466" y="3009010"/>
                </a:cubicBezTo>
                <a:cubicBezTo>
                  <a:pt x="11662185" y="2695154"/>
                  <a:pt x="11889463" y="2438329"/>
                  <a:pt x="12192000" y="2344615"/>
                </a:cubicBezTo>
                <a:close/>
                <a:moveTo>
                  <a:pt x="10767111" y="2302594"/>
                </a:moveTo>
                <a:lnTo>
                  <a:pt x="10784198" y="2304217"/>
                </a:lnTo>
                <a:cubicBezTo>
                  <a:pt x="10816584" y="2304744"/>
                  <a:pt x="10848477" y="2307725"/>
                  <a:pt x="10879660" y="2313282"/>
                </a:cubicBezTo>
                <a:cubicBezTo>
                  <a:pt x="10885236" y="2312863"/>
                  <a:pt x="10890564" y="2313811"/>
                  <a:pt x="10895873" y="2314821"/>
                </a:cubicBezTo>
                <a:lnTo>
                  <a:pt x="10895990" y="2315969"/>
                </a:lnTo>
                <a:cubicBezTo>
                  <a:pt x="11254840" y="2375367"/>
                  <a:pt x="11535879" y="2656144"/>
                  <a:pt x="11586156" y="3009010"/>
                </a:cubicBezTo>
                <a:cubicBezTo>
                  <a:pt x="11586323" y="3009063"/>
                  <a:pt x="11586492" y="3009068"/>
                  <a:pt x="11586661" y="3009073"/>
                </a:cubicBezTo>
                <a:lnTo>
                  <a:pt x="11587201" y="3015763"/>
                </a:lnTo>
                <a:cubicBezTo>
                  <a:pt x="11592258" y="3046007"/>
                  <a:pt x="11594708" y="3076892"/>
                  <a:pt x="11594665" y="3108220"/>
                </a:cubicBezTo>
                <a:cubicBezTo>
                  <a:pt x="11595977" y="3113850"/>
                  <a:pt x="11596036" y="3119519"/>
                  <a:pt x="11596036" y="3125201"/>
                </a:cubicBezTo>
                <a:cubicBezTo>
                  <a:pt x="11596036" y="3129023"/>
                  <a:pt x="11596009" y="3132839"/>
                  <a:pt x="11595443" y="3136641"/>
                </a:cubicBezTo>
                <a:lnTo>
                  <a:pt x="11594944" y="3136608"/>
                </a:lnTo>
                <a:lnTo>
                  <a:pt x="11594918" y="3137103"/>
                </a:lnTo>
                <a:lnTo>
                  <a:pt x="11577800" y="3135477"/>
                </a:lnTo>
                <a:cubicBezTo>
                  <a:pt x="11545425" y="3134950"/>
                  <a:pt x="11513545" y="3131969"/>
                  <a:pt x="11482373" y="3126415"/>
                </a:cubicBezTo>
                <a:cubicBezTo>
                  <a:pt x="11476796" y="3126834"/>
                  <a:pt x="11471467" y="3125886"/>
                  <a:pt x="11466156" y="3124875"/>
                </a:cubicBezTo>
                <a:lnTo>
                  <a:pt x="11466040" y="3123727"/>
                </a:lnTo>
                <a:cubicBezTo>
                  <a:pt x="11107189" y="3064328"/>
                  <a:pt x="10826150" y="2783551"/>
                  <a:pt x="10775875" y="2430686"/>
                </a:cubicBezTo>
                <a:cubicBezTo>
                  <a:pt x="10775707" y="2430633"/>
                  <a:pt x="10775539" y="2430628"/>
                  <a:pt x="10775369" y="2430623"/>
                </a:cubicBezTo>
                <a:lnTo>
                  <a:pt x="10774831" y="2423947"/>
                </a:lnTo>
                <a:cubicBezTo>
                  <a:pt x="10769772" y="2393697"/>
                  <a:pt x="10767321" y="2362806"/>
                  <a:pt x="10767364" y="2331471"/>
                </a:cubicBezTo>
                <a:cubicBezTo>
                  <a:pt x="10766052" y="2325843"/>
                  <a:pt x="10765993" y="2320176"/>
                  <a:pt x="10765993" y="2314495"/>
                </a:cubicBezTo>
                <a:lnTo>
                  <a:pt x="10766587" y="2303055"/>
                </a:lnTo>
                <a:lnTo>
                  <a:pt x="10767085" y="2303088"/>
                </a:lnTo>
                <a:close/>
                <a:moveTo>
                  <a:pt x="10744358" y="2302594"/>
                </a:moveTo>
                <a:lnTo>
                  <a:pt x="10744384" y="2303088"/>
                </a:lnTo>
                <a:lnTo>
                  <a:pt x="10744882" y="2303055"/>
                </a:lnTo>
                <a:lnTo>
                  <a:pt x="10745476" y="2314495"/>
                </a:lnTo>
                <a:cubicBezTo>
                  <a:pt x="10745476" y="2320176"/>
                  <a:pt x="10745417" y="2325843"/>
                  <a:pt x="10744105" y="2331471"/>
                </a:cubicBezTo>
                <a:cubicBezTo>
                  <a:pt x="10744148" y="2362806"/>
                  <a:pt x="10741697" y="2393697"/>
                  <a:pt x="10736638" y="2423947"/>
                </a:cubicBezTo>
                <a:lnTo>
                  <a:pt x="10736100" y="2430623"/>
                </a:lnTo>
                <a:cubicBezTo>
                  <a:pt x="10735930" y="2430628"/>
                  <a:pt x="10735762" y="2430633"/>
                  <a:pt x="10735594" y="2430686"/>
                </a:cubicBezTo>
                <a:cubicBezTo>
                  <a:pt x="10685319" y="2783551"/>
                  <a:pt x="10404280" y="3064328"/>
                  <a:pt x="10045429" y="3123727"/>
                </a:cubicBezTo>
                <a:lnTo>
                  <a:pt x="10045313" y="3124875"/>
                </a:lnTo>
                <a:cubicBezTo>
                  <a:pt x="10040002" y="3125886"/>
                  <a:pt x="10034673" y="3126834"/>
                  <a:pt x="10029096" y="3126415"/>
                </a:cubicBezTo>
                <a:cubicBezTo>
                  <a:pt x="9997924" y="3131969"/>
                  <a:pt x="9966044" y="3134950"/>
                  <a:pt x="9933669" y="3135477"/>
                </a:cubicBezTo>
                <a:lnTo>
                  <a:pt x="9916551" y="3137103"/>
                </a:lnTo>
                <a:lnTo>
                  <a:pt x="9916525" y="3136608"/>
                </a:lnTo>
                <a:lnTo>
                  <a:pt x="9916026" y="3136641"/>
                </a:lnTo>
                <a:cubicBezTo>
                  <a:pt x="9915460" y="3132839"/>
                  <a:pt x="9915433" y="3129023"/>
                  <a:pt x="9915433" y="3125201"/>
                </a:cubicBezTo>
                <a:cubicBezTo>
                  <a:pt x="9915433" y="3119519"/>
                  <a:pt x="9915492" y="3113850"/>
                  <a:pt x="9916804" y="3108220"/>
                </a:cubicBezTo>
                <a:cubicBezTo>
                  <a:pt x="9916761" y="3076892"/>
                  <a:pt x="9919211" y="3046007"/>
                  <a:pt x="9924268" y="3015763"/>
                </a:cubicBezTo>
                <a:lnTo>
                  <a:pt x="9924808" y="3009073"/>
                </a:lnTo>
                <a:cubicBezTo>
                  <a:pt x="9924977" y="3009068"/>
                  <a:pt x="9925146" y="3009063"/>
                  <a:pt x="9925314" y="3009010"/>
                </a:cubicBezTo>
                <a:cubicBezTo>
                  <a:pt x="9975590" y="2656144"/>
                  <a:pt x="10256629" y="2375367"/>
                  <a:pt x="10615479" y="2315969"/>
                </a:cubicBezTo>
                <a:lnTo>
                  <a:pt x="10615596" y="2314821"/>
                </a:lnTo>
                <a:cubicBezTo>
                  <a:pt x="10620905" y="2313811"/>
                  <a:pt x="10626233" y="2312863"/>
                  <a:pt x="10631809" y="2313282"/>
                </a:cubicBezTo>
                <a:cubicBezTo>
                  <a:pt x="10662992" y="2307725"/>
                  <a:pt x="10694885" y="2304744"/>
                  <a:pt x="10727271" y="2304217"/>
                </a:cubicBezTo>
                <a:close/>
                <a:moveTo>
                  <a:pt x="9074958" y="2302594"/>
                </a:moveTo>
                <a:lnTo>
                  <a:pt x="9092045" y="2304217"/>
                </a:lnTo>
                <a:cubicBezTo>
                  <a:pt x="9124431" y="2304744"/>
                  <a:pt x="9156324" y="2307725"/>
                  <a:pt x="9187507" y="2313282"/>
                </a:cubicBezTo>
                <a:cubicBezTo>
                  <a:pt x="9193083" y="2312863"/>
                  <a:pt x="9198411" y="2313811"/>
                  <a:pt x="9203720" y="2314821"/>
                </a:cubicBezTo>
                <a:lnTo>
                  <a:pt x="9203837" y="2315969"/>
                </a:lnTo>
                <a:cubicBezTo>
                  <a:pt x="9562687" y="2375367"/>
                  <a:pt x="9843726" y="2656144"/>
                  <a:pt x="9894002" y="3009010"/>
                </a:cubicBezTo>
                <a:cubicBezTo>
                  <a:pt x="9894170" y="3009063"/>
                  <a:pt x="9894339" y="3009068"/>
                  <a:pt x="9894508" y="3009073"/>
                </a:cubicBezTo>
                <a:lnTo>
                  <a:pt x="9895048" y="3015763"/>
                </a:lnTo>
                <a:cubicBezTo>
                  <a:pt x="9900105" y="3046007"/>
                  <a:pt x="9902555" y="3076892"/>
                  <a:pt x="9902512" y="3108220"/>
                </a:cubicBezTo>
                <a:cubicBezTo>
                  <a:pt x="9903824" y="3113850"/>
                  <a:pt x="9903883" y="3119519"/>
                  <a:pt x="9903883" y="3125201"/>
                </a:cubicBezTo>
                <a:cubicBezTo>
                  <a:pt x="9903883" y="3129023"/>
                  <a:pt x="9903856" y="3132839"/>
                  <a:pt x="9903290" y="3136641"/>
                </a:cubicBezTo>
                <a:lnTo>
                  <a:pt x="9902791" y="3136608"/>
                </a:lnTo>
                <a:lnTo>
                  <a:pt x="9902765" y="3137103"/>
                </a:lnTo>
                <a:lnTo>
                  <a:pt x="9885647" y="3135477"/>
                </a:lnTo>
                <a:cubicBezTo>
                  <a:pt x="9853272" y="3134950"/>
                  <a:pt x="9821392" y="3131969"/>
                  <a:pt x="9790220" y="3126415"/>
                </a:cubicBezTo>
                <a:cubicBezTo>
                  <a:pt x="9784643" y="3126834"/>
                  <a:pt x="9779314" y="3125886"/>
                  <a:pt x="9774003" y="3124875"/>
                </a:cubicBezTo>
                <a:lnTo>
                  <a:pt x="9773887" y="3123727"/>
                </a:lnTo>
                <a:cubicBezTo>
                  <a:pt x="9415036" y="3064328"/>
                  <a:pt x="9133997" y="2783551"/>
                  <a:pt x="9083722" y="2430686"/>
                </a:cubicBezTo>
                <a:cubicBezTo>
                  <a:pt x="9083554" y="2430633"/>
                  <a:pt x="9083386" y="2430628"/>
                  <a:pt x="9083216" y="2430623"/>
                </a:cubicBezTo>
                <a:lnTo>
                  <a:pt x="9082678" y="2423947"/>
                </a:lnTo>
                <a:cubicBezTo>
                  <a:pt x="9077619" y="2393697"/>
                  <a:pt x="9075168" y="2362806"/>
                  <a:pt x="9075211" y="2331471"/>
                </a:cubicBezTo>
                <a:cubicBezTo>
                  <a:pt x="9073899" y="2325843"/>
                  <a:pt x="9073840" y="2320176"/>
                  <a:pt x="9073840" y="2314495"/>
                </a:cubicBezTo>
                <a:lnTo>
                  <a:pt x="9074434" y="2303055"/>
                </a:lnTo>
                <a:lnTo>
                  <a:pt x="9074932" y="2303088"/>
                </a:lnTo>
                <a:close/>
                <a:moveTo>
                  <a:pt x="9052207" y="2302594"/>
                </a:moveTo>
                <a:lnTo>
                  <a:pt x="9052233" y="2303088"/>
                </a:lnTo>
                <a:lnTo>
                  <a:pt x="9052731" y="2303055"/>
                </a:lnTo>
                <a:lnTo>
                  <a:pt x="9053325" y="2314495"/>
                </a:lnTo>
                <a:cubicBezTo>
                  <a:pt x="9053325" y="2320176"/>
                  <a:pt x="9053266" y="2325843"/>
                  <a:pt x="9051954" y="2331471"/>
                </a:cubicBezTo>
                <a:cubicBezTo>
                  <a:pt x="9051997" y="2362806"/>
                  <a:pt x="9049546" y="2393697"/>
                  <a:pt x="9044487" y="2423947"/>
                </a:cubicBezTo>
                <a:lnTo>
                  <a:pt x="9043949" y="2430623"/>
                </a:lnTo>
                <a:cubicBezTo>
                  <a:pt x="9043779" y="2430628"/>
                  <a:pt x="9043611" y="2430633"/>
                  <a:pt x="9043443" y="2430686"/>
                </a:cubicBezTo>
                <a:cubicBezTo>
                  <a:pt x="8993168" y="2783551"/>
                  <a:pt x="8712129" y="3064328"/>
                  <a:pt x="8353278" y="3123727"/>
                </a:cubicBezTo>
                <a:lnTo>
                  <a:pt x="8353162" y="3124875"/>
                </a:lnTo>
                <a:cubicBezTo>
                  <a:pt x="8347851" y="3125886"/>
                  <a:pt x="8342522" y="3126834"/>
                  <a:pt x="8336945" y="3126415"/>
                </a:cubicBezTo>
                <a:cubicBezTo>
                  <a:pt x="8305773" y="3131969"/>
                  <a:pt x="8273893" y="3134950"/>
                  <a:pt x="8241519" y="3135477"/>
                </a:cubicBezTo>
                <a:lnTo>
                  <a:pt x="8224400" y="3137103"/>
                </a:lnTo>
                <a:lnTo>
                  <a:pt x="8224374" y="3136608"/>
                </a:lnTo>
                <a:lnTo>
                  <a:pt x="8223875" y="3136641"/>
                </a:lnTo>
                <a:cubicBezTo>
                  <a:pt x="8223309" y="3132839"/>
                  <a:pt x="8223282" y="3129023"/>
                  <a:pt x="8223282" y="3125201"/>
                </a:cubicBezTo>
                <a:cubicBezTo>
                  <a:pt x="8223282" y="3119519"/>
                  <a:pt x="8223341" y="3113850"/>
                  <a:pt x="8224653" y="3108220"/>
                </a:cubicBezTo>
                <a:cubicBezTo>
                  <a:pt x="8224611" y="3076892"/>
                  <a:pt x="8227060" y="3046007"/>
                  <a:pt x="8232117" y="3015763"/>
                </a:cubicBezTo>
                <a:lnTo>
                  <a:pt x="8232657" y="3009073"/>
                </a:lnTo>
                <a:cubicBezTo>
                  <a:pt x="8232826" y="3009068"/>
                  <a:pt x="8232995" y="3009063"/>
                  <a:pt x="8233163" y="3009010"/>
                </a:cubicBezTo>
                <a:cubicBezTo>
                  <a:pt x="8283439" y="2656144"/>
                  <a:pt x="8564478" y="2375367"/>
                  <a:pt x="8923328" y="2315969"/>
                </a:cubicBezTo>
                <a:lnTo>
                  <a:pt x="8923445" y="2314821"/>
                </a:lnTo>
                <a:cubicBezTo>
                  <a:pt x="8928754" y="2313811"/>
                  <a:pt x="8934082" y="2312863"/>
                  <a:pt x="8939658" y="2313282"/>
                </a:cubicBezTo>
                <a:cubicBezTo>
                  <a:pt x="8970841" y="2307725"/>
                  <a:pt x="9002734" y="2304744"/>
                  <a:pt x="9035120" y="2304217"/>
                </a:cubicBezTo>
                <a:close/>
                <a:moveTo>
                  <a:pt x="7382807" y="2302594"/>
                </a:moveTo>
                <a:lnTo>
                  <a:pt x="7399895" y="2304217"/>
                </a:lnTo>
                <a:cubicBezTo>
                  <a:pt x="7432280" y="2304744"/>
                  <a:pt x="7464173" y="2307725"/>
                  <a:pt x="7495356" y="2313282"/>
                </a:cubicBezTo>
                <a:cubicBezTo>
                  <a:pt x="7500932" y="2312863"/>
                  <a:pt x="7506260" y="2313811"/>
                  <a:pt x="7511569" y="2314821"/>
                </a:cubicBezTo>
                <a:lnTo>
                  <a:pt x="7511686" y="2315969"/>
                </a:lnTo>
                <a:cubicBezTo>
                  <a:pt x="7870536" y="2375367"/>
                  <a:pt x="8151575" y="2656144"/>
                  <a:pt x="8201852" y="3009010"/>
                </a:cubicBezTo>
                <a:cubicBezTo>
                  <a:pt x="8202019" y="3009063"/>
                  <a:pt x="8202189" y="3009068"/>
                  <a:pt x="8202357" y="3009073"/>
                </a:cubicBezTo>
                <a:lnTo>
                  <a:pt x="8202898" y="3015763"/>
                </a:lnTo>
                <a:cubicBezTo>
                  <a:pt x="8207954" y="3046007"/>
                  <a:pt x="8210404" y="3076892"/>
                  <a:pt x="8210362" y="3108220"/>
                </a:cubicBezTo>
                <a:cubicBezTo>
                  <a:pt x="8211674" y="3113850"/>
                  <a:pt x="8211732" y="3119519"/>
                  <a:pt x="8211732" y="3125201"/>
                </a:cubicBezTo>
                <a:cubicBezTo>
                  <a:pt x="8211732" y="3129023"/>
                  <a:pt x="8211705" y="3132839"/>
                  <a:pt x="8211139" y="3136641"/>
                </a:cubicBezTo>
                <a:lnTo>
                  <a:pt x="8210640" y="3136608"/>
                </a:lnTo>
                <a:lnTo>
                  <a:pt x="8210614" y="3137103"/>
                </a:lnTo>
                <a:lnTo>
                  <a:pt x="8193496" y="3135477"/>
                </a:lnTo>
                <a:cubicBezTo>
                  <a:pt x="8161122" y="3134950"/>
                  <a:pt x="8129241" y="3131969"/>
                  <a:pt x="8098069" y="3126415"/>
                </a:cubicBezTo>
                <a:cubicBezTo>
                  <a:pt x="8092492" y="3126834"/>
                  <a:pt x="8087163" y="3125886"/>
                  <a:pt x="8081853" y="3124875"/>
                </a:cubicBezTo>
                <a:lnTo>
                  <a:pt x="8081737" y="3123727"/>
                </a:lnTo>
                <a:cubicBezTo>
                  <a:pt x="7722885" y="3064328"/>
                  <a:pt x="7441846" y="2783551"/>
                  <a:pt x="7391571" y="2430686"/>
                </a:cubicBezTo>
                <a:cubicBezTo>
                  <a:pt x="7391403" y="2430633"/>
                  <a:pt x="7391235" y="2430628"/>
                  <a:pt x="7391065" y="2430623"/>
                </a:cubicBezTo>
                <a:lnTo>
                  <a:pt x="7390527" y="2423947"/>
                </a:lnTo>
                <a:cubicBezTo>
                  <a:pt x="7385468" y="2393697"/>
                  <a:pt x="7383018" y="2362806"/>
                  <a:pt x="7383060" y="2331471"/>
                </a:cubicBezTo>
                <a:cubicBezTo>
                  <a:pt x="7381748" y="2325843"/>
                  <a:pt x="7381689" y="2320176"/>
                  <a:pt x="7381689" y="2314495"/>
                </a:cubicBezTo>
                <a:lnTo>
                  <a:pt x="7382283" y="2303055"/>
                </a:lnTo>
                <a:lnTo>
                  <a:pt x="7382781" y="2303088"/>
                </a:lnTo>
                <a:close/>
                <a:moveTo>
                  <a:pt x="7360056" y="2302594"/>
                </a:moveTo>
                <a:lnTo>
                  <a:pt x="7360082" y="2303088"/>
                </a:lnTo>
                <a:lnTo>
                  <a:pt x="7360580" y="2303055"/>
                </a:lnTo>
                <a:lnTo>
                  <a:pt x="7361174" y="2314495"/>
                </a:lnTo>
                <a:cubicBezTo>
                  <a:pt x="7361174" y="2320176"/>
                  <a:pt x="7361116" y="2325843"/>
                  <a:pt x="7359804" y="2331471"/>
                </a:cubicBezTo>
                <a:cubicBezTo>
                  <a:pt x="7359846" y="2362806"/>
                  <a:pt x="7357395" y="2393697"/>
                  <a:pt x="7352337" y="2423947"/>
                </a:cubicBezTo>
                <a:lnTo>
                  <a:pt x="7351798" y="2430623"/>
                </a:lnTo>
                <a:cubicBezTo>
                  <a:pt x="7351629" y="2430628"/>
                  <a:pt x="7351460" y="2430633"/>
                  <a:pt x="7351293" y="2430686"/>
                </a:cubicBezTo>
                <a:cubicBezTo>
                  <a:pt x="7301017" y="2783551"/>
                  <a:pt x="7019978" y="3064328"/>
                  <a:pt x="6661127" y="3123727"/>
                </a:cubicBezTo>
                <a:lnTo>
                  <a:pt x="6661011" y="3124875"/>
                </a:lnTo>
                <a:cubicBezTo>
                  <a:pt x="6655700" y="3125886"/>
                  <a:pt x="6650371" y="3126834"/>
                  <a:pt x="6644794" y="3126415"/>
                </a:cubicBezTo>
                <a:cubicBezTo>
                  <a:pt x="6613622" y="3131969"/>
                  <a:pt x="6581742" y="3134950"/>
                  <a:pt x="6549368" y="3135477"/>
                </a:cubicBezTo>
                <a:lnTo>
                  <a:pt x="6532249" y="3137103"/>
                </a:lnTo>
                <a:lnTo>
                  <a:pt x="6532223" y="3136608"/>
                </a:lnTo>
                <a:lnTo>
                  <a:pt x="6531724" y="3136641"/>
                </a:lnTo>
                <a:cubicBezTo>
                  <a:pt x="6531158" y="3132839"/>
                  <a:pt x="6531131" y="3129023"/>
                  <a:pt x="6531131" y="3125201"/>
                </a:cubicBezTo>
                <a:cubicBezTo>
                  <a:pt x="6531131" y="3119519"/>
                  <a:pt x="6531190" y="3113850"/>
                  <a:pt x="6532502" y="3108220"/>
                </a:cubicBezTo>
                <a:cubicBezTo>
                  <a:pt x="6532460" y="3076892"/>
                  <a:pt x="6534909" y="3046007"/>
                  <a:pt x="6539966" y="3015763"/>
                </a:cubicBezTo>
                <a:lnTo>
                  <a:pt x="6540506" y="3009073"/>
                </a:lnTo>
                <a:cubicBezTo>
                  <a:pt x="6540675" y="3009068"/>
                  <a:pt x="6540844" y="3009063"/>
                  <a:pt x="6541012" y="3009010"/>
                </a:cubicBezTo>
                <a:cubicBezTo>
                  <a:pt x="6591288" y="2656144"/>
                  <a:pt x="6872327" y="2375367"/>
                  <a:pt x="7231178" y="2315969"/>
                </a:cubicBezTo>
                <a:lnTo>
                  <a:pt x="7231295" y="2314821"/>
                </a:lnTo>
                <a:cubicBezTo>
                  <a:pt x="7236603" y="2313811"/>
                  <a:pt x="7241931" y="2312863"/>
                  <a:pt x="7247507" y="2313282"/>
                </a:cubicBezTo>
                <a:cubicBezTo>
                  <a:pt x="7278691" y="2307725"/>
                  <a:pt x="7310583" y="2304744"/>
                  <a:pt x="7342969" y="2304217"/>
                </a:cubicBezTo>
                <a:close/>
                <a:moveTo>
                  <a:pt x="5690656" y="2302594"/>
                </a:moveTo>
                <a:lnTo>
                  <a:pt x="5707743" y="2304217"/>
                </a:lnTo>
                <a:cubicBezTo>
                  <a:pt x="5740129" y="2304744"/>
                  <a:pt x="5772021" y="2307725"/>
                  <a:pt x="5803205" y="2313282"/>
                </a:cubicBezTo>
                <a:cubicBezTo>
                  <a:pt x="5808781" y="2312863"/>
                  <a:pt x="5814109" y="2313811"/>
                  <a:pt x="5819417" y="2314821"/>
                </a:cubicBezTo>
                <a:lnTo>
                  <a:pt x="5819534" y="2315969"/>
                </a:lnTo>
                <a:cubicBezTo>
                  <a:pt x="6178385" y="2375367"/>
                  <a:pt x="6459424" y="2656144"/>
                  <a:pt x="6509700" y="3009010"/>
                </a:cubicBezTo>
                <a:cubicBezTo>
                  <a:pt x="6509868" y="3009063"/>
                  <a:pt x="6510037" y="3009068"/>
                  <a:pt x="6510206" y="3009073"/>
                </a:cubicBezTo>
                <a:lnTo>
                  <a:pt x="6510746" y="3015763"/>
                </a:lnTo>
                <a:cubicBezTo>
                  <a:pt x="6515803" y="3046007"/>
                  <a:pt x="6518252" y="3076892"/>
                  <a:pt x="6518210" y="3108220"/>
                </a:cubicBezTo>
                <a:cubicBezTo>
                  <a:pt x="6519522" y="3113850"/>
                  <a:pt x="6519581" y="3119519"/>
                  <a:pt x="6519581" y="3125201"/>
                </a:cubicBezTo>
                <a:cubicBezTo>
                  <a:pt x="6519581" y="3129023"/>
                  <a:pt x="6519554" y="3132839"/>
                  <a:pt x="6518988" y="3136641"/>
                </a:cubicBezTo>
                <a:lnTo>
                  <a:pt x="6518489" y="3136608"/>
                </a:lnTo>
                <a:lnTo>
                  <a:pt x="6518463" y="3137103"/>
                </a:lnTo>
                <a:lnTo>
                  <a:pt x="6501344" y="3135477"/>
                </a:lnTo>
                <a:cubicBezTo>
                  <a:pt x="6468970" y="3134950"/>
                  <a:pt x="6437090" y="3131969"/>
                  <a:pt x="6405918" y="3126415"/>
                </a:cubicBezTo>
                <a:cubicBezTo>
                  <a:pt x="6400341" y="3126834"/>
                  <a:pt x="6395012" y="3125886"/>
                  <a:pt x="6389701" y="3124875"/>
                </a:cubicBezTo>
                <a:lnTo>
                  <a:pt x="6389585" y="3123727"/>
                </a:lnTo>
                <a:cubicBezTo>
                  <a:pt x="6030734" y="3064328"/>
                  <a:pt x="5749695" y="2783551"/>
                  <a:pt x="5699419" y="2430686"/>
                </a:cubicBezTo>
                <a:cubicBezTo>
                  <a:pt x="5699252" y="2430633"/>
                  <a:pt x="5699083" y="2430628"/>
                  <a:pt x="5698914" y="2430623"/>
                </a:cubicBezTo>
                <a:lnTo>
                  <a:pt x="5698375" y="2423947"/>
                </a:lnTo>
                <a:cubicBezTo>
                  <a:pt x="5693317" y="2393697"/>
                  <a:pt x="5690866" y="2362806"/>
                  <a:pt x="5690908" y="2331471"/>
                </a:cubicBezTo>
                <a:cubicBezTo>
                  <a:pt x="5689596" y="2325843"/>
                  <a:pt x="5689538" y="2320176"/>
                  <a:pt x="5689538" y="2314495"/>
                </a:cubicBezTo>
                <a:lnTo>
                  <a:pt x="5690132" y="2303055"/>
                </a:lnTo>
                <a:lnTo>
                  <a:pt x="5690630" y="2303088"/>
                </a:lnTo>
                <a:close/>
                <a:moveTo>
                  <a:pt x="5667905" y="2302594"/>
                </a:moveTo>
                <a:lnTo>
                  <a:pt x="5667931" y="2303088"/>
                </a:lnTo>
                <a:lnTo>
                  <a:pt x="5668429" y="2303055"/>
                </a:lnTo>
                <a:lnTo>
                  <a:pt x="5669023" y="2314495"/>
                </a:lnTo>
                <a:cubicBezTo>
                  <a:pt x="5669023" y="2320176"/>
                  <a:pt x="5668964" y="2325843"/>
                  <a:pt x="5667652" y="2331471"/>
                </a:cubicBezTo>
                <a:cubicBezTo>
                  <a:pt x="5667694" y="2362806"/>
                  <a:pt x="5665244" y="2393697"/>
                  <a:pt x="5660185" y="2423947"/>
                </a:cubicBezTo>
                <a:lnTo>
                  <a:pt x="5659647" y="2430623"/>
                </a:lnTo>
                <a:cubicBezTo>
                  <a:pt x="5659477" y="2430628"/>
                  <a:pt x="5659309" y="2430633"/>
                  <a:pt x="5659141" y="2430686"/>
                </a:cubicBezTo>
                <a:cubicBezTo>
                  <a:pt x="5608866" y="2783551"/>
                  <a:pt x="5327827" y="3064328"/>
                  <a:pt x="4968975" y="3123727"/>
                </a:cubicBezTo>
                <a:lnTo>
                  <a:pt x="4968859" y="3124875"/>
                </a:lnTo>
                <a:cubicBezTo>
                  <a:pt x="4963549" y="3125886"/>
                  <a:pt x="4958220" y="3126834"/>
                  <a:pt x="4952643" y="3126415"/>
                </a:cubicBezTo>
                <a:cubicBezTo>
                  <a:pt x="4921471" y="3131969"/>
                  <a:pt x="4889590" y="3134950"/>
                  <a:pt x="4857216" y="3135477"/>
                </a:cubicBezTo>
                <a:lnTo>
                  <a:pt x="4840098" y="3137103"/>
                </a:lnTo>
                <a:lnTo>
                  <a:pt x="4840072" y="3136608"/>
                </a:lnTo>
                <a:lnTo>
                  <a:pt x="4839573" y="3136641"/>
                </a:lnTo>
                <a:cubicBezTo>
                  <a:pt x="4839007" y="3132839"/>
                  <a:pt x="4838980" y="3129023"/>
                  <a:pt x="4838980" y="3125201"/>
                </a:cubicBezTo>
                <a:cubicBezTo>
                  <a:pt x="4838980" y="3119519"/>
                  <a:pt x="4839038" y="3113850"/>
                  <a:pt x="4840350" y="3108220"/>
                </a:cubicBezTo>
                <a:cubicBezTo>
                  <a:pt x="4840308" y="3076892"/>
                  <a:pt x="4842758" y="3046007"/>
                  <a:pt x="4847814" y="3015763"/>
                </a:cubicBezTo>
                <a:lnTo>
                  <a:pt x="4848355" y="3009073"/>
                </a:lnTo>
                <a:cubicBezTo>
                  <a:pt x="4848523" y="3009068"/>
                  <a:pt x="4848693" y="3009063"/>
                  <a:pt x="4848860" y="3009010"/>
                </a:cubicBezTo>
                <a:cubicBezTo>
                  <a:pt x="4899137" y="2656144"/>
                  <a:pt x="5180176" y="2375367"/>
                  <a:pt x="5539026" y="2315969"/>
                </a:cubicBezTo>
                <a:lnTo>
                  <a:pt x="5539143" y="2314821"/>
                </a:lnTo>
                <a:cubicBezTo>
                  <a:pt x="5544452" y="2313811"/>
                  <a:pt x="5549780" y="2312863"/>
                  <a:pt x="5555356" y="2313282"/>
                </a:cubicBezTo>
                <a:cubicBezTo>
                  <a:pt x="5586539" y="2307725"/>
                  <a:pt x="5618432" y="2304744"/>
                  <a:pt x="5650817" y="2304217"/>
                </a:cubicBezTo>
                <a:close/>
                <a:moveTo>
                  <a:pt x="3998505" y="2302594"/>
                </a:moveTo>
                <a:lnTo>
                  <a:pt x="4015592" y="2304217"/>
                </a:lnTo>
                <a:cubicBezTo>
                  <a:pt x="4047978" y="2304744"/>
                  <a:pt x="4079870" y="2307725"/>
                  <a:pt x="4111054" y="2313282"/>
                </a:cubicBezTo>
                <a:cubicBezTo>
                  <a:pt x="4116630" y="2312863"/>
                  <a:pt x="4121958" y="2313811"/>
                  <a:pt x="4127266" y="2314821"/>
                </a:cubicBezTo>
                <a:lnTo>
                  <a:pt x="4127384" y="2315969"/>
                </a:lnTo>
                <a:cubicBezTo>
                  <a:pt x="4486234" y="2375367"/>
                  <a:pt x="4767273" y="2656144"/>
                  <a:pt x="4817549" y="3009010"/>
                </a:cubicBezTo>
                <a:cubicBezTo>
                  <a:pt x="4817717" y="3009063"/>
                  <a:pt x="4817886" y="3009068"/>
                  <a:pt x="4818055" y="3009073"/>
                </a:cubicBezTo>
                <a:lnTo>
                  <a:pt x="4818595" y="3015763"/>
                </a:lnTo>
                <a:cubicBezTo>
                  <a:pt x="4823652" y="3046007"/>
                  <a:pt x="4826101" y="3076892"/>
                  <a:pt x="4826059" y="3108220"/>
                </a:cubicBezTo>
                <a:cubicBezTo>
                  <a:pt x="4827371" y="3113850"/>
                  <a:pt x="4827430" y="3119519"/>
                  <a:pt x="4827430" y="3125201"/>
                </a:cubicBezTo>
                <a:cubicBezTo>
                  <a:pt x="4827430" y="3129023"/>
                  <a:pt x="4827403" y="3132839"/>
                  <a:pt x="4826837" y="3136641"/>
                </a:cubicBezTo>
                <a:lnTo>
                  <a:pt x="4826338" y="3136608"/>
                </a:lnTo>
                <a:lnTo>
                  <a:pt x="4826312" y="3137103"/>
                </a:lnTo>
                <a:lnTo>
                  <a:pt x="4809193" y="3135477"/>
                </a:lnTo>
                <a:cubicBezTo>
                  <a:pt x="4776819" y="3134950"/>
                  <a:pt x="4744939" y="3131969"/>
                  <a:pt x="4713767" y="3126415"/>
                </a:cubicBezTo>
                <a:cubicBezTo>
                  <a:pt x="4708190" y="3126834"/>
                  <a:pt x="4702861" y="3125886"/>
                  <a:pt x="4697550" y="3124875"/>
                </a:cubicBezTo>
                <a:lnTo>
                  <a:pt x="4697434" y="3123727"/>
                </a:lnTo>
                <a:cubicBezTo>
                  <a:pt x="4338583" y="3064328"/>
                  <a:pt x="4057544" y="2783551"/>
                  <a:pt x="4007268" y="2430686"/>
                </a:cubicBezTo>
                <a:cubicBezTo>
                  <a:pt x="4007101" y="2430633"/>
                  <a:pt x="4006932" y="2430628"/>
                  <a:pt x="4006763" y="2430623"/>
                </a:cubicBezTo>
                <a:lnTo>
                  <a:pt x="4006225" y="2423947"/>
                </a:lnTo>
                <a:cubicBezTo>
                  <a:pt x="4001166" y="2393697"/>
                  <a:pt x="3998715" y="2362806"/>
                  <a:pt x="3998757" y="2331471"/>
                </a:cubicBezTo>
                <a:cubicBezTo>
                  <a:pt x="3997445" y="2325843"/>
                  <a:pt x="3997387" y="2320176"/>
                  <a:pt x="3997387" y="2314495"/>
                </a:cubicBezTo>
                <a:lnTo>
                  <a:pt x="3997981" y="2303055"/>
                </a:lnTo>
                <a:lnTo>
                  <a:pt x="3998479" y="2303088"/>
                </a:lnTo>
                <a:close/>
                <a:moveTo>
                  <a:pt x="3975754" y="2302594"/>
                </a:moveTo>
                <a:lnTo>
                  <a:pt x="3975780" y="2303088"/>
                </a:lnTo>
                <a:lnTo>
                  <a:pt x="3976278" y="2303055"/>
                </a:lnTo>
                <a:lnTo>
                  <a:pt x="3976872" y="2314495"/>
                </a:lnTo>
                <a:cubicBezTo>
                  <a:pt x="3976872" y="2320176"/>
                  <a:pt x="3976813" y="2325843"/>
                  <a:pt x="3975501" y="2331471"/>
                </a:cubicBezTo>
                <a:cubicBezTo>
                  <a:pt x="3975543" y="2362806"/>
                  <a:pt x="3973093" y="2393697"/>
                  <a:pt x="3968034" y="2423947"/>
                </a:cubicBezTo>
                <a:lnTo>
                  <a:pt x="3967496" y="2430623"/>
                </a:lnTo>
                <a:cubicBezTo>
                  <a:pt x="3967326" y="2430628"/>
                  <a:pt x="3967158" y="2430633"/>
                  <a:pt x="3966990" y="2430686"/>
                </a:cubicBezTo>
                <a:cubicBezTo>
                  <a:pt x="3916715" y="2783551"/>
                  <a:pt x="3635676" y="3064328"/>
                  <a:pt x="3276825" y="3123727"/>
                </a:cubicBezTo>
                <a:lnTo>
                  <a:pt x="3276708" y="3124875"/>
                </a:lnTo>
                <a:cubicBezTo>
                  <a:pt x="3271398" y="3125886"/>
                  <a:pt x="3266069" y="3126834"/>
                  <a:pt x="3260492" y="3126415"/>
                </a:cubicBezTo>
                <a:cubicBezTo>
                  <a:pt x="3229320" y="3131969"/>
                  <a:pt x="3197440" y="3134950"/>
                  <a:pt x="3165065" y="3135477"/>
                </a:cubicBezTo>
                <a:lnTo>
                  <a:pt x="3147947" y="3137103"/>
                </a:lnTo>
                <a:lnTo>
                  <a:pt x="3147921" y="3136608"/>
                </a:lnTo>
                <a:lnTo>
                  <a:pt x="3147422" y="3136641"/>
                </a:lnTo>
                <a:cubicBezTo>
                  <a:pt x="3146856" y="3132839"/>
                  <a:pt x="3146829" y="3129023"/>
                  <a:pt x="3146829" y="3125201"/>
                </a:cubicBezTo>
                <a:cubicBezTo>
                  <a:pt x="3146829" y="3119519"/>
                  <a:pt x="3146887" y="3113850"/>
                  <a:pt x="3148199" y="3108220"/>
                </a:cubicBezTo>
                <a:cubicBezTo>
                  <a:pt x="3148157" y="3076892"/>
                  <a:pt x="3150607" y="3046007"/>
                  <a:pt x="3155663" y="3015763"/>
                </a:cubicBezTo>
                <a:lnTo>
                  <a:pt x="3156204" y="3009073"/>
                </a:lnTo>
                <a:cubicBezTo>
                  <a:pt x="3156372" y="3009068"/>
                  <a:pt x="3156542" y="3009063"/>
                  <a:pt x="3156709" y="3009010"/>
                </a:cubicBezTo>
                <a:cubicBezTo>
                  <a:pt x="3206986" y="2656144"/>
                  <a:pt x="3488025" y="2375367"/>
                  <a:pt x="3846875" y="2315969"/>
                </a:cubicBezTo>
                <a:lnTo>
                  <a:pt x="3846992" y="2314821"/>
                </a:lnTo>
                <a:cubicBezTo>
                  <a:pt x="3852301" y="2313811"/>
                  <a:pt x="3857629" y="2312863"/>
                  <a:pt x="3863205" y="2313282"/>
                </a:cubicBezTo>
                <a:cubicBezTo>
                  <a:pt x="3894388" y="2307725"/>
                  <a:pt x="3926281" y="2304744"/>
                  <a:pt x="3958666" y="2304217"/>
                </a:cubicBezTo>
                <a:close/>
                <a:moveTo>
                  <a:pt x="2306354" y="2302594"/>
                </a:moveTo>
                <a:lnTo>
                  <a:pt x="2323441" y="2304217"/>
                </a:lnTo>
                <a:cubicBezTo>
                  <a:pt x="2355827" y="2304744"/>
                  <a:pt x="2387719" y="2307725"/>
                  <a:pt x="2418903" y="2313282"/>
                </a:cubicBezTo>
                <a:cubicBezTo>
                  <a:pt x="2424479" y="2312863"/>
                  <a:pt x="2429807" y="2313811"/>
                  <a:pt x="2435115" y="2314821"/>
                </a:cubicBezTo>
                <a:lnTo>
                  <a:pt x="2435233" y="2315969"/>
                </a:lnTo>
                <a:cubicBezTo>
                  <a:pt x="2794083" y="2375367"/>
                  <a:pt x="3075122" y="2656144"/>
                  <a:pt x="3125398" y="3009010"/>
                </a:cubicBezTo>
                <a:cubicBezTo>
                  <a:pt x="3125566" y="3009063"/>
                  <a:pt x="3125735" y="3009068"/>
                  <a:pt x="3125904" y="3009073"/>
                </a:cubicBezTo>
                <a:lnTo>
                  <a:pt x="3126444" y="3015763"/>
                </a:lnTo>
                <a:cubicBezTo>
                  <a:pt x="3131501" y="3046007"/>
                  <a:pt x="3133950" y="3076892"/>
                  <a:pt x="3133908" y="3108220"/>
                </a:cubicBezTo>
                <a:cubicBezTo>
                  <a:pt x="3135220" y="3113850"/>
                  <a:pt x="3135279" y="3119519"/>
                  <a:pt x="3135279" y="3125201"/>
                </a:cubicBezTo>
                <a:cubicBezTo>
                  <a:pt x="3135279" y="3129023"/>
                  <a:pt x="3135252" y="3132839"/>
                  <a:pt x="3134686" y="3136641"/>
                </a:cubicBezTo>
                <a:lnTo>
                  <a:pt x="3134187" y="3136608"/>
                </a:lnTo>
                <a:lnTo>
                  <a:pt x="3134161" y="3137103"/>
                </a:lnTo>
                <a:lnTo>
                  <a:pt x="3117042" y="3135477"/>
                </a:lnTo>
                <a:cubicBezTo>
                  <a:pt x="3084668" y="3134950"/>
                  <a:pt x="3052788" y="3131969"/>
                  <a:pt x="3021616" y="3126415"/>
                </a:cubicBezTo>
                <a:cubicBezTo>
                  <a:pt x="3016039" y="3126834"/>
                  <a:pt x="3010710" y="3125886"/>
                  <a:pt x="3005399" y="3124875"/>
                </a:cubicBezTo>
                <a:lnTo>
                  <a:pt x="3005283" y="3123727"/>
                </a:lnTo>
                <a:cubicBezTo>
                  <a:pt x="2646432" y="3064328"/>
                  <a:pt x="2365393" y="2783551"/>
                  <a:pt x="2315117" y="2430686"/>
                </a:cubicBezTo>
                <a:cubicBezTo>
                  <a:pt x="2314950" y="2430633"/>
                  <a:pt x="2314781" y="2430628"/>
                  <a:pt x="2314612" y="2430623"/>
                </a:cubicBezTo>
                <a:lnTo>
                  <a:pt x="2314074" y="2423947"/>
                </a:lnTo>
                <a:cubicBezTo>
                  <a:pt x="2309015" y="2393697"/>
                  <a:pt x="2306564" y="2362806"/>
                  <a:pt x="2306606" y="2331471"/>
                </a:cubicBezTo>
                <a:cubicBezTo>
                  <a:pt x="2305294" y="2325843"/>
                  <a:pt x="2305236" y="2320176"/>
                  <a:pt x="2305236" y="2314495"/>
                </a:cubicBezTo>
                <a:lnTo>
                  <a:pt x="2305830" y="2303055"/>
                </a:lnTo>
                <a:lnTo>
                  <a:pt x="2306328" y="2303088"/>
                </a:lnTo>
                <a:close/>
                <a:moveTo>
                  <a:pt x="2283603" y="2302594"/>
                </a:moveTo>
                <a:lnTo>
                  <a:pt x="2283629" y="2303088"/>
                </a:lnTo>
                <a:lnTo>
                  <a:pt x="2284127" y="2303055"/>
                </a:lnTo>
                <a:lnTo>
                  <a:pt x="2284721" y="2314495"/>
                </a:lnTo>
                <a:cubicBezTo>
                  <a:pt x="2284721" y="2320176"/>
                  <a:pt x="2284662" y="2325843"/>
                  <a:pt x="2283350" y="2331471"/>
                </a:cubicBezTo>
                <a:cubicBezTo>
                  <a:pt x="2283392" y="2362806"/>
                  <a:pt x="2280942" y="2393697"/>
                  <a:pt x="2275883" y="2423947"/>
                </a:cubicBezTo>
                <a:lnTo>
                  <a:pt x="2275345" y="2430623"/>
                </a:lnTo>
                <a:cubicBezTo>
                  <a:pt x="2275175" y="2430628"/>
                  <a:pt x="2275007" y="2430633"/>
                  <a:pt x="2274839" y="2430686"/>
                </a:cubicBezTo>
                <a:cubicBezTo>
                  <a:pt x="2224564" y="2783551"/>
                  <a:pt x="1943525" y="3064328"/>
                  <a:pt x="1584673" y="3123727"/>
                </a:cubicBezTo>
                <a:lnTo>
                  <a:pt x="1584557" y="3124875"/>
                </a:lnTo>
                <a:cubicBezTo>
                  <a:pt x="1579247" y="3125886"/>
                  <a:pt x="1573918" y="3126834"/>
                  <a:pt x="1568341" y="3126415"/>
                </a:cubicBezTo>
                <a:cubicBezTo>
                  <a:pt x="1537169" y="3131969"/>
                  <a:pt x="1505289" y="3134950"/>
                  <a:pt x="1472914" y="3135477"/>
                </a:cubicBezTo>
                <a:lnTo>
                  <a:pt x="1455796" y="3137103"/>
                </a:lnTo>
                <a:lnTo>
                  <a:pt x="1455770" y="3136608"/>
                </a:lnTo>
                <a:lnTo>
                  <a:pt x="1455271" y="3136641"/>
                </a:lnTo>
                <a:cubicBezTo>
                  <a:pt x="1454705" y="3132839"/>
                  <a:pt x="1454678" y="3129023"/>
                  <a:pt x="1454678" y="3125201"/>
                </a:cubicBezTo>
                <a:cubicBezTo>
                  <a:pt x="1454678" y="3119519"/>
                  <a:pt x="1454736" y="3113850"/>
                  <a:pt x="1456048" y="3108220"/>
                </a:cubicBezTo>
                <a:cubicBezTo>
                  <a:pt x="1456006" y="3076892"/>
                  <a:pt x="1458456" y="3046007"/>
                  <a:pt x="1463513" y="3015763"/>
                </a:cubicBezTo>
                <a:lnTo>
                  <a:pt x="1464053" y="3009073"/>
                </a:lnTo>
                <a:cubicBezTo>
                  <a:pt x="1464221" y="3009068"/>
                  <a:pt x="1464391" y="3009063"/>
                  <a:pt x="1464558" y="3009010"/>
                </a:cubicBezTo>
                <a:cubicBezTo>
                  <a:pt x="1514835" y="2656144"/>
                  <a:pt x="1795874" y="2375367"/>
                  <a:pt x="2154724" y="2315969"/>
                </a:cubicBezTo>
                <a:lnTo>
                  <a:pt x="2154841" y="2314821"/>
                </a:lnTo>
                <a:cubicBezTo>
                  <a:pt x="2160150" y="2313811"/>
                  <a:pt x="2165478" y="2312863"/>
                  <a:pt x="2171054" y="2313282"/>
                </a:cubicBezTo>
                <a:cubicBezTo>
                  <a:pt x="2202237" y="2307725"/>
                  <a:pt x="2234130" y="2304744"/>
                  <a:pt x="2266515" y="2304217"/>
                </a:cubicBezTo>
                <a:close/>
                <a:moveTo>
                  <a:pt x="614203" y="2302594"/>
                </a:moveTo>
                <a:lnTo>
                  <a:pt x="631290" y="2304217"/>
                </a:lnTo>
                <a:cubicBezTo>
                  <a:pt x="663676" y="2304744"/>
                  <a:pt x="695568" y="2307725"/>
                  <a:pt x="726752" y="2313282"/>
                </a:cubicBezTo>
                <a:cubicBezTo>
                  <a:pt x="732328" y="2312863"/>
                  <a:pt x="737656" y="2313811"/>
                  <a:pt x="742964" y="2314821"/>
                </a:cubicBezTo>
                <a:lnTo>
                  <a:pt x="743081" y="2315969"/>
                </a:lnTo>
                <a:cubicBezTo>
                  <a:pt x="1101932" y="2375367"/>
                  <a:pt x="1382971" y="2656144"/>
                  <a:pt x="1433247" y="3009010"/>
                </a:cubicBezTo>
                <a:cubicBezTo>
                  <a:pt x="1433415" y="3009063"/>
                  <a:pt x="1433584" y="3009068"/>
                  <a:pt x="1433753" y="3009073"/>
                </a:cubicBezTo>
                <a:lnTo>
                  <a:pt x="1434293" y="3015763"/>
                </a:lnTo>
                <a:cubicBezTo>
                  <a:pt x="1439350" y="3046007"/>
                  <a:pt x="1441799" y="3076892"/>
                  <a:pt x="1441757" y="3108220"/>
                </a:cubicBezTo>
                <a:cubicBezTo>
                  <a:pt x="1443069" y="3113850"/>
                  <a:pt x="1443128" y="3119519"/>
                  <a:pt x="1443128" y="3125201"/>
                </a:cubicBezTo>
                <a:cubicBezTo>
                  <a:pt x="1443128" y="3129023"/>
                  <a:pt x="1443101" y="3132839"/>
                  <a:pt x="1442535" y="3136641"/>
                </a:cubicBezTo>
                <a:lnTo>
                  <a:pt x="1442036" y="3136608"/>
                </a:lnTo>
                <a:lnTo>
                  <a:pt x="1442010" y="3137103"/>
                </a:lnTo>
                <a:lnTo>
                  <a:pt x="1424891" y="3135477"/>
                </a:lnTo>
                <a:cubicBezTo>
                  <a:pt x="1392517" y="3134950"/>
                  <a:pt x="1360637" y="3131969"/>
                  <a:pt x="1329465" y="3126415"/>
                </a:cubicBezTo>
                <a:cubicBezTo>
                  <a:pt x="1323888" y="3126834"/>
                  <a:pt x="1318559" y="3125886"/>
                  <a:pt x="1313248" y="3124875"/>
                </a:cubicBezTo>
                <a:lnTo>
                  <a:pt x="1313132" y="3123727"/>
                </a:lnTo>
                <a:cubicBezTo>
                  <a:pt x="954281" y="3064328"/>
                  <a:pt x="673242" y="2783551"/>
                  <a:pt x="622966" y="2430686"/>
                </a:cubicBezTo>
                <a:cubicBezTo>
                  <a:pt x="622799" y="2430633"/>
                  <a:pt x="622630" y="2430628"/>
                  <a:pt x="622461" y="2430623"/>
                </a:cubicBezTo>
                <a:lnTo>
                  <a:pt x="621923" y="2423947"/>
                </a:lnTo>
                <a:cubicBezTo>
                  <a:pt x="616864" y="2393697"/>
                  <a:pt x="614413" y="2362806"/>
                  <a:pt x="614455" y="2331471"/>
                </a:cubicBezTo>
                <a:cubicBezTo>
                  <a:pt x="613143" y="2325843"/>
                  <a:pt x="613085" y="2320176"/>
                  <a:pt x="613085" y="2314495"/>
                </a:cubicBezTo>
                <a:lnTo>
                  <a:pt x="613679" y="2303055"/>
                </a:lnTo>
                <a:lnTo>
                  <a:pt x="614177" y="2303088"/>
                </a:lnTo>
                <a:close/>
                <a:moveTo>
                  <a:pt x="591452" y="2302594"/>
                </a:moveTo>
                <a:lnTo>
                  <a:pt x="591478" y="2303088"/>
                </a:lnTo>
                <a:lnTo>
                  <a:pt x="591976" y="2303055"/>
                </a:lnTo>
                <a:lnTo>
                  <a:pt x="592570" y="2314495"/>
                </a:lnTo>
                <a:cubicBezTo>
                  <a:pt x="592570" y="2320176"/>
                  <a:pt x="592511" y="2325843"/>
                  <a:pt x="591199" y="2331471"/>
                </a:cubicBezTo>
                <a:cubicBezTo>
                  <a:pt x="591242" y="2362806"/>
                  <a:pt x="588791" y="2393697"/>
                  <a:pt x="583732" y="2423947"/>
                </a:cubicBezTo>
                <a:lnTo>
                  <a:pt x="583194" y="2430623"/>
                </a:lnTo>
                <a:cubicBezTo>
                  <a:pt x="583024" y="2430628"/>
                  <a:pt x="582856" y="2430633"/>
                  <a:pt x="582689" y="2430686"/>
                </a:cubicBezTo>
                <a:cubicBezTo>
                  <a:pt x="537576" y="2747315"/>
                  <a:pt x="306662" y="3005901"/>
                  <a:pt x="0" y="3097101"/>
                </a:cubicBezTo>
                <a:lnTo>
                  <a:pt x="0" y="2964763"/>
                </a:lnTo>
                <a:cubicBezTo>
                  <a:pt x="229298" y="2881926"/>
                  <a:pt x="402181" y="2686530"/>
                  <a:pt x="449203" y="2447425"/>
                </a:cubicBezTo>
                <a:cubicBezTo>
                  <a:pt x="258971" y="2488309"/>
                  <a:pt x="97576" y="2603574"/>
                  <a:pt x="0" y="2761314"/>
                </a:cubicBezTo>
                <a:lnTo>
                  <a:pt x="0" y="2554520"/>
                </a:lnTo>
                <a:cubicBezTo>
                  <a:pt x="121484" y="2431613"/>
                  <a:pt x="282199" y="2345825"/>
                  <a:pt x="462573" y="2315969"/>
                </a:cubicBezTo>
                <a:lnTo>
                  <a:pt x="462690" y="2314821"/>
                </a:lnTo>
                <a:cubicBezTo>
                  <a:pt x="467999" y="2313811"/>
                  <a:pt x="473327" y="2312863"/>
                  <a:pt x="478903" y="2313282"/>
                </a:cubicBezTo>
                <a:cubicBezTo>
                  <a:pt x="510086" y="2307725"/>
                  <a:pt x="541979" y="2304744"/>
                  <a:pt x="574365" y="2304217"/>
                </a:cubicBezTo>
                <a:close/>
                <a:moveTo>
                  <a:pt x="11452667" y="1608087"/>
                </a:moveTo>
                <a:cubicBezTo>
                  <a:pt x="11177477" y="1666766"/>
                  <a:pt x="10962633" y="1879876"/>
                  <a:pt x="10909358" y="2148655"/>
                </a:cubicBezTo>
                <a:cubicBezTo>
                  <a:pt x="11184548" y="2089976"/>
                  <a:pt x="11399391" y="1876866"/>
                  <a:pt x="11452667" y="1608087"/>
                </a:cubicBezTo>
                <a:close/>
                <a:moveTo>
                  <a:pt x="10058800" y="1608087"/>
                </a:moveTo>
                <a:cubicBezTo>
                  <a:pt x="10112076" y="1876866"/>
                  <a:pt x="10326919" y="2089976"/>
                  <a:pt x="10602109" y="2148655"/>
                </a:cubicBezTo>
                <a:cubicBezTo>
                  <a:pt x="10548834" y="1879876"/>
                  <a:pt x="10333990" y="1666766"/>
                  <a:pt x="10058800" y="1608087"/>
                </a:cubicBezTo>
                <a:close/>
                <a:moveTo>
                  <a:pt x="9760514" y="1608087"/>
                </a:moveTo>
                <a:cubicBezTo>
                  <a:pt x="9485324" y="1666766"/>
                  <a:pt x="9270480" y="1879876"/>
                  <a:pt x="9217205" y="2148655"/>
                </a:cubicBezTo>
                <a:cubicBezTo>
                  <a:pt x="9492395" y="2089976"/>
                  <a:pt x="9707238" y="1876866"/>
                  <a:pt x="9760514" y="1608087"/>
                </a:cubicBezTo>
                <a:close/>
                <a:moveTo>
                  <a:pt x="8366649" y="1608087"/>
                </a:moveTo>
                <a:cubicBezTo>
                  <a:pt x="8419925" y="1876866"/>
                  <a:pt x="8634768" y="2089976"/>
                  <a:pt x="8909958" y="2148655"/>
                </a:cubicBezTo>
                <a:cubicBezTo>
                  <a:pt x="8856683" y="1879876"/>
                  <a:pt x="8641839" y="1666766"/>
                  <a:pt x="8366649" y="1608087"/>
                </a:cubicBezTo>
                <a:close/>
                <a:moveTo>
                  <a:pt x="8068363" y="1608087"/>
                </a:moveTo>
                <a:cubicBezTo>
                  <a:pt x="7793173" y="1666766"/>
                  <a:pt x="7578329" y="1879876"/>
                  <a:pt x="7525054" y="2148655"/>
                </a:cubicBezTo>
                <a:cubicBezTo>
                  <a:pt x="7800244" y="2089976"/>
                  <a:pt x="8015087" y="1876866"/>
                  <a:pt x="8068363" y="1608087"/>
                </a:cubicBezTo>
                <a:close/>
                <a:moveTo>
                  <a:pt x="6674498" y="1608087"/>
                </a:moveTo>
                <a:cubicBezTo>
                  <a:pt x="6727774" y="1876866"/>
                  <a:pt x="6942617" y="2089976"/>
                  <a:pt x="7217807" y="2148655"/>
                </a:cubicBezTo>
                <a:cubicBezTo>
                  <a:pt x="7164532" y="1879876"/>
                  <a:pt x="6949688" y="1666766"/>
                  <a:pt x="6674498" y="1608087"/>
                </a:cubicBezTo>
                <a:close/>
                <a:moveTo>
                  <a:pt x="6376212" y="1608087"/>
                </a:moveTo>
                <a:cubicBezTo>
                  <a:pt x="6101022" y="1666766"/>
                  <a:pt x="5886178" y="1879876"/>
                  <a:pt x="5832903" y="2148655"/>
                </a:cubicBezTo>
                <a:cubicBezTo>
                  <a:pt x="6108093" y="2089976"/>
                  <a:pt x="6322936" y="1876866"/>
                  <a:pt x="6376212" y="1608087"/>
                </a:cubicBezTo>
                <a:close/>
                <a:moveTo>
                  <a:pt x="4982347" y="1608087"/>
                </a:moveTo>
                <a:cubicBezTo>
                  <a:pt x="5035623" y="1876866"/>
                  <a:pt x="5250466" y="2089976"/>
                  <a:pt x="5525656" y="2148655"/>
                </a:cubicBezTo>
                <a:cubicBezTo>
                  <a:pt x="5472381" y="1879876"/>
                  <a:pt x="5257537" y="1666766"/>
                  <a:pt x="4982347" y="1608087"/>
                </a:cubicBezTo>
                <a:close/>
                <a:moveTo>
                  <a:pt x="4684061" y="1608087"/>
                </a:moveTo>
                <a:cubicBezTo>
                  <a:pt x="4408871" y="1666766"/>
                  <a:pt x="4194027" y="1879876"/>
                  <a:pt x="4140752" y="2148655"/>
                </a:cubicBezTo>
                <a:cubicBezTo>
                  <a:pt x="4415942" y="2089976"/>
                  <a:pt x="4630785" y="1876866"/>
                  <a:pt x="4684061" y="1608087"/>
                </a:cubicBezTo>
                <a:close/>
                <a:moveTo>
                  <a:pt x="3290196" y="1608087"/>
                </a:moveTo>
                <a:cubicBezTo>
                  <a:pt x="3343472" y="1876866"/>
                  <a:pt x="3558315" y="2089976"/>
                  <a:pt x="3833505" y="2148655"/>
                </a:cubicBezTo>
                <a:cubicBezTo>
                  <a:pt x="3780230" y="1879876"/>
                  <a:pt x="3565386" y="1666766"/>
                  <a:pt x="3290196" y="1608087"/>
                </a:cubicBezTo>
                <a:close/>
                <a:moveTo>
                  <a:pt x="2991910" y="1608087"/>
                </a:moveTo>
                <a:cubicBezTo>
                  <a:pt x="2716720" y="1666766"/>
                  <a:pt x="2501876" y="1879876"/>
                  <a:pt x="2448601" y="2148655"/>
                </a:cubicBezTo>
                <a:cubicBezTo>
                  <a:pt x="2723791" y="2089976"/>
                  <a:pt x="2938634" y="1876866"/>
                  <a:pt x="2991910" y="1608087"/>
                </a:cubicBezTo>
                <a:close/>
                <a:moveTo>
                  <a:pt x="1598045" y="1608087"/>
                </a:moveTo>
                <a:cubicBezTo>
                  <a:pt x="1651321" y="1876866"/>
                  <a:pt x="1866164" y="2089976"/>
                  <a:pt x="2141354" y="2148655"/>
                </a:cubicBezTo>
                <a:cubicBezTo>
                  <a:pt x="2088079" y="1879876"/>
                  <a:pt x="1873235" y="1666766"/>
                  <a:pt x="1598045" y="1608087"/>
                </a:cubicBezTo>
                <a:close/>
                <a:moveTo>
                  <a:pt x="1299759" y="1608087"/>
                </a:moveTo>
                <a:cubicBezTo>
                  <a:pt x="1024569" y="1666766"/>
                  <a:pt x="809725" y="1879876"/>
                  <a:pt x="756450" y="2148655"/>
                </a:cubicBezTo>
                <a:cubicBezTo>
                  <a:pt x="1031640" y="2089976"/>
                  <a:pt x="1246483" y="1876866"/>
                  <a:pt x="1299759" y="1608087"/>
                </a:cubicBezTo>
                <a:close/>
                <a:moveTo>
                  <a:pt x="0" y="1504081"/>
                </a:moveTo>
                <a:cubicBezTo>
                  <a:pt x="306658" y="1594561"/>
                  <a:pt x="537576" y="1851117"/>
                  <a:pt x="582690" y="2165262"/>
                </a:cubicBezTo>
                <a:cubicBezTo>
                  <a:pt x="582857" y="2165315"/>
                  <a:pt x="583026" y="2165320"/>
                  <a:pt x="583195" y="2165325"/>
                </a:cubicBezTo>
                <a:lnTo>
                  <a:pt x="583735" y="2171962"/>
                </a:lnTo>
                <a:cubicBezTo>
                  <a:pt x="588792" y="2201969"/>
                  <a:pt x="591242" y="2232611"/>
                  <a:pt x="591199" y="2263693"/>
                </a:cubicBezTo>
                <a:cubicBezTo>
                  <a:pt x="592511" y="2269279"/>
                  <a:pt x="592570" y="2274903"/>
                  <a:pt x="592570" y="2280541"/>
                </a:cubicBezTo>
                <a:cubicBezTo>
                  <a:pt x="592570" y="2284333"/>
                  <a:pt x="592543" y="2288119"/>
                  <a:pt x="591977" y="2291891"/>
                </a:cubicBezTo>
                <a:lnTo>
                  <a:pt x="591478" y="2291858"/>
                </a:lnTo>
                <a:lnTo>
                  <a:pt x="591452" y="2292349"/>
                </a:lnTo>
                <a:lnTo>
                  <a:pt x="574334" y="2290736"/>
                </a:lnTo>
                <a:cubicBezTo>
                  <a:pt x="541959" y="2290213"/>
                  <a:pt x="510079" y="2287255"/>
                  <a:pt x="478907" y="2281745"/>
                </a:cubicBezTo>
                <a:cubicBezTo>
                  <a:pt x="473330" y="2282161"/>
                  <a:pt x="468001" y="2281220"/>
                  <a:pt x="462690" y="2280217"/>
                </a:cubicBezTo>
                <a:lnTo>
                  <a:pt x="462574" y="2279078"/>
                </a:lnTo>
                <a:cubicBezTo>
                  <a:pt x="282200" y="2249456"/>
                  <a:pt x="121485" y="2164343"/>
                  <a:pt x="0" y="2042401"/>
                </a:cubicBezTo>
                <a:lnTo>
                  <a:pt x="0" y="1837231"/>
                </a:lnTo>
                <a:cubicBezTo>
                  <a:pt x="97584" y="1993737"/>
                  <a:pt x="258975" y="2108093"/>
                  <a:pt x="449203" y="2148655"/>
                </a:cubicBezTo>
                <a:cubicBezTo>
                  <a:pt x="402182" y="1911427"/>
                  <a:pt x="229297" y="1717565"/>
                  <a:pt x="0" y="1635380"/>
                </a:cubicBezTo>
                <a:close/>
                <a:moveTo>
                  <a:pt x="11608704" y="1464394"/>
                </a:moveTo>
                <a:lnTo>
                  <a:pt x="11625791" y="1466004"/>
                </a:lnTo>
                <a:cubicBezTo>
                  <a:pt x="11658177" y="1466527"/>
                  <a:pt x="11690070" y="1469485"/>
                  <a:pt x="11721253" y="1474998"/>
                </a:cubicBezTo>
                <a:cubicBezTo>
                  <a:pt x="11726829" y="1474582"/>
                  <a:pt x="11732157" y="1475523"/>
                  <a:pt x="11737466" y="1476525"/>
                </a:cubicBezTo>
                <a:lnTo>
                  <a:pt x="11737583" y="1477664"/>
                </a:lnTo>
                <a:cubicBezTo>
                  <a:pt x="11914088" y="1506650"/>
                  <a:pt x="12071767" y="1588774"/>
                  <a:pt x="12192000" y="1706842"/>
                </a:cubicBezTo>
                <a:lnTo>
                  <a:pt x="12192000" y="1906833"/>
                </a:lnTo>
                <a:cubicBezTo>
                  <a:pt x="12093732" y="1756811"/>
                  <a:pt x="11935983" y="1647542"/>
                  <a:pt x="11750953" y="1608088"/>
                </a:cubicBezTo>
                <a:cubicBezTo>
                  <a:pt x="11797422" y="1842524"/>
                  <a:pt x="11966808" y="2034608"/>
                  <a:pt x="12192000" y="2118654"/>
                </a:cubicBezTo>
                <a:lnTo>
                  <a:pt x="12192000" y="2250657"/>
                </a:lnTo>
                <a:cubicBezTo>
                  <a:pt x="11889465" y="2157681"/>
                  <a:pt x="11662185" y="1902872"/>
                  <a:pt x="11617468" y="1591480"/>
                </a:cubicBezTo>
                <a:cubicBezTo>
                  <a:pt x="11617300" y="1591427"/>
                  <a:pt x="11617132" y="1591423"/>
                  <a:pt x="11616962" y="1591418"/>
                </a:cubicBezTo>
                <a:lnTo>
                  <a:pt x="11616424" y="1584794"/>
                </a:lnTo>
                <a:cubicBezTo>
                  <a:pt x="11611365" y="1554782"/>
                  <a:pt x="11608914" y="1524133"/>
                  <a:pt x="11608957" y="1493044"/>
                </a:cubicBezTo>
                <a:cubicBezTo>
                  <a:pt x="11607645" y="1487460"/>
                  <a:pt x="11607586" y="1481838"/>
                  <a:pt x="11607586" y="1476202"/>
                </a:cubicBezTo>
                <a:lnTo>
                  <a:pt x="11608180" y="1464851"/>
                </a:lnTo>
                <a:lnTo>
                  <a:pt x="11608678" y="1464884"/>
                </a:lnTo>
                <a:close/>
                <a:moveTo>
                  <a:pt x="11594916" y="1464394"/>
                </a:moveTo>
                <a:lnTo>
                  <a:pt x="11594942" y="1464884"/>
                </a:lnTo>
                <a:lnTo>
                  <a:pt x="11595440" y="1464852"/>
                </a:lnTo>
                <a:lnTo>
                  <a:pt x="11596034" y="1476202"/>
                </a:lnTo>
                <a:cubicBezTo>
                  <a:pt x="11596034" y="1481838"/>
                  <a:pt x="11595975" y="1487460"/>
                  <a:pt x="11594663" y="1493044"/>
                </a:cubicBezTo>
                <a:cubicBezTo>
                  <a:pt x="11594706" y="1524133"/>
                  <a:pt x="11592255" y="1554782"/>
                  <a:pt x="11587196" y="1584794"/>
                </a:cubicBezTo>
                <a:lnTo>
                  <a:pt x="11586658" y="1591418"/>
                </a:lnTo>
                <a:cubicBezTo>
                  <a:pt x="11586488" y="1591423"/>
                  <a:pt x="11586320" y="1591427"/>
                  <a:pt x="11586152" y="1591480"/>
                </a:cubicBezTo>
                <a:cubicBezTo>
                  <a:pt x="11535877" y="1941574"/>
                  <a:pt x="11254838" y="2220146"/>
                  <a:pt x="10895987" y="2279078"/>
                </a:cubicBezTo>
                <a:lnTo>
                  <a:pt x="10895871" y="2280217"/>
                </a:lnTo>
                <a:cubicBezTo>
                  <a:pt x="10890560" y="2281220"/>
                  <a:pt x="10885231" y="2282161"/>
                  <a:pt x="10879654" y="2281745"/>
                </a:cubicBezTo>
                <a:cubicBezTo>
                  <a:pt x="10848482" y="2287255"/>
                  <a:pt x="10816602" y="2290213"/>
                  <a:pt x="10784227" y="2290736"/>
                </a:cubicBezTo>
                <a:lnTo>
                  <a:pt x="10767109" y="2292349"/>
                </a:lnTo>
                <a:lnTo>
                  <a:pt x="10767083" y="2291858"/>
                </a:lnTo>
                <a:lnTo>
                  <a:pt x="10766584" y="2291891"/>
                </a:lnTo>
                <a:cubicBezTo>
                  <a:pt x="10766018" y="2288119"/>
                  <a:pt x="10765991" y="2284333"/>
                  <a:pt x="10765991" y="2280541"/>
                </a:cubicBezTo>
                <a:cubicBezTo>
                  <a:pt x="10765991" y="2274903"/>
                  <a:pt x="10766050" y="2269279"/>
                  <a:pt x="10767362" y="2263693"/>
                </a:cubicBezTo>
                <a:cubicBezTo>
                  <a:pt x="10767319" y="2232611"/>
                  <a:pt x="10769769" y="2201969"/>
                  <a:pt x="10774826" y="2171962"/>
                </a:cubicBezTo>
                <a:lnTo>
                  <a:pt x="10775366" y="2165325"/>
                </a:lnTo>
                <a:cubicBezTo>
                  <a:pt x="10775535" y="2165320"/>
                  <a:pt x="10775704" y="2165315"/>
                  <a:pt x="10775872" y="2165262"/>
                </a:cubicBezTo>
                <a:cubicBezTo>
                  <a:pt x="10826148" y="1815167"/>
                  <a:pt x="11107187" y="1536596"/>
                  <a:pt x="11466037" y="1477664"/>
                </a:cubicBezTo>
                <a:lnTo>
                  <a:pt x="11466154" y="1476525"/>
                </a:lnTo>
                <a:cubicBezTo>
                  <a:pt x="11471463" y="1475523"/>
                  <a:pt x="11476791" y="1474582"/>
                  <a:pt x="11482367" y="1474998"/>
                </a:cubicBezTo>
                <a:cubicBezTo>
                  <a:pt x="11513550" y="1469485"/>
                  <a:pt x="11545443" y="1466527"/>
                  <a:pt x="11577829" y="1466004"/>
                </a:cubicBezTo>
                <a:close/>
                <a:moveTo>
                  <a:pt x="9916551" y="1464394"/>
                </a:moveTo>
                <a:lnTo>
                  <a:pt x="9933638" y="1466004"/>
                </a:lnTo>
                <a:cubicBezTo>
                  <a:pt x="9966024" y="1466527"/>
                  <a:pt x="9997917" y="1469485"/>
                  <a:pt x="10029100" y="1474998"/>
                </a:cubicBezTo>
                <a:cubicBezTo>
                  <a:pt x="10034676" y="1474582"/>
                  <a:pt x="10040004" y="1475523"/>
                  <a:pt x="10045313" y="1476525"/>
                </a:cubicBezTo>
                <a:lnTo>
                  <a:pt x="10045430" y="1477664"/>
                </a:lnTo>
                <a:cubicBezTo>
                  <a:pt x="10404280" y="1536596"/>
                  <a:pt x="10685319" y="1815167"/>
                  <a:pt x="10735596" y="2165262"/>
                </a:cubicBezTo>
                <a:cubicBezTo>
                  <a:pt x="10735763" y="2165315"/>
                  <a:pt x="10735932" y="2165320"/>
                  <a:pt x="10736101" y="2165325"/>
                </a:cubicBezTo>
                <a:lnTo>
                  <a:pt x="10736641" y="2171962"/>
                </a:lnTo>
                <a:cubicBezTo>
                  <a:pt x="10741698" y="2201969"/>
                  <a:pt x="10744148" y="2232611"/>
                  <a:pt x="10744105" y="2263693"/>
                </a:cubicBezTo>
                <a:cubicBezTo>
                  <a:pt x="10745417" y="2269279"/>
                  <a:pt x="10745476" y="2274903"/>
                  <a:pt x="10745476" y="2280541"/>
                </a:cubicBezTo>
                <a:cubicBezTo>
                  <a:pt x="10745476" y="2284333"/>
                  <a:pt x="10745449" y="2288119"/>
                  <a:pt x="10744883" y="2291891"/>
                </a:cubicBezTo>
                <a:lnTo>
                  <a:pt x="10744384" y="2291858"/>
                </a:lnTo>
                <a:lnTo>
                  <a:pt x="10744358" y="2292349"/>
                </a:lnTo>
                <a:lnTo>
                  <a:pt x="10727240" y="2290736"/>
                </a:lnTo>
                <a:cubicBezTo>
                  <a:pt x="10694865" y="2290213"/>
                  <a:pt x="10662985" y="2287255"/>
                  <a:pt x="10631813" y="2281745"/>
                </a:cubicBezTo>
                <a:cubicBezTo>
                  <a:pt x="10626236" y="2282161"/>
                  <a:pt x="10620907" y="2281220"/>
                  <a:pt x="10615596" y="2280217"/>
                </a:cubicBezTo>
                <a:lnTo>
                  <a:pt x="10615480" y="2279078"/>
                </a:lnTo>
                <a:cubicBezTo>
                  <a:pt x="10256629" y="2220146"/>
                  <a:pt x="9975590" y="1941574"/>
                  <a:pt x="9925315" y="1591480"/>
                </a:cubicBezTo>
                <a:cubicBezTo>
                  <a:pt x="9925147" y="1591427"/>
                  <a:pt x="9924979" y="1591423"/>
                  <a:pt x="9924809" y="1591418"/>
                </a:cubicBezTo>
                <a:lnTo>
                  <a:pt x="9924271" y="1584794"/>
                </a:lnTo>
                <a:cubicBezTo>
                  <a:pt x="9919212" y="1554782"/>
                  <a:pt x="9916761" y="1524133"/>
                  <a:pt x="9916804" y="1493044"/>
                </a:cubicBezTo>
                <a:cubicBezTo>
                  <a:pt x="9915492" y="1487460"/>
                  <a:pt x="9915433" y="1481838"/>
                  <a:pt x="9915433" y="1476202"/>
                </a:cubicBezTo>
                <a:lnTo>
                  <a:pt x="9916027" y="1464852"/>
                </a:lnTo>
                <a:lnTo>
                  <a:pt x="9916525" y="1464884"/>
                </a:lnTo>
                <a:close/>
                <a:moveTo>
                  <a:pt x="9902763" y="1464394"/>
                </a:moveTo>
                <a:lnTo>
                  <a:pt x="9902789" y="1464884"/>
                </a:lnTo>
                <a:lnTo>
                  <a:pt x="9903287" y="1464852"/>
                </a:lnTo>
                <a:lnTo>
                  <a:pt x="9903881" y="1476202"/>
                </a:lnTo>
                <a:cubicBezTo>
                  <a:pt x="9903881" y="1481838"/>
                  <a:pt x="9903822" y="1487460"/>
                  <a:pt x="9902510" y="1493044"/>
                </a:cubicBezTo>
                <a:cubicBezTo>
                  <a:pt x="9902553" y="1524133"/>
                  <a:pt x="9900102" y="1554782"/>
                  <a:pt x="9895043" y="1584794"/>
                </a:cubicBezTo>
                <a:lnTo>
                  <a:pt x="9894505" y="1591418"/>
                </a:lnTo>
                <a:cubicBezTo>
                  <a:pt x="9894335" y="1591423"/>
                  <a:pt x="9894167" y="1591427"/>
                  <a:pt x="9893999" y="1591480"/>
                </a:cubicBezTo>
                <a:cubicBezTo>
                  <a:pt x="9843724" y="1941574"/>
                  <a:pt x="9562685" y="2220146"/>
                  <a:pt x="9203834" y="2279078"/>
                </a:cubicBezTo>
                <a:lnTo>
                  <a:pt x="9203718" y="2280217"/>
                </a:lnTo>
                <a:cubicBezTo>
                  <a:pt x="9198407" y="2281220"/>
                  <a:pt x="9193078" y="2282161"/>
                  <a:pt x="9187501" y="2281745"/>
                </a:cubicBezTo>
                <a:cubicBezTo>
                  <a:pt x="9156329" y="2287255"/>
                  <a:pt x="9124449" y="2290213"/>
                  <a:pt x="9092074" y="2290736"/>
                </a:cubicBezTo>
                <a:lnTo>
                  <a:pt x="9074956" y="2292349"/>
                </a:lnTo>
                <a:lnTo>
                  <a:pt x="9074930" y="2291858"/>
                </a:lnTo>
                <a:lnTo>
                  <a:pt x="9074431" y="2291891"/>
                </a:lnTo>
                <a:cubicBezTo>
                  <a:pt x="9073865" y="2288119"/>
                  <a:pt x="9073838" y="2284333"/>
                  <a:pt x="9073838" y="2280541"/>
                </a:cubicBezTo>
                <a:cubicBezTo>
                  <a:pt x="9073838" y="2274903"/>
                  <a:pt x="9073897" y="2269279"/>
                  <a:pt x="9075209" y="2263693"/>
                </a:cubicBezTo>
                <a:cubicBezTo>
                  <a:pt x="9075166" y="2232611"/>
                  <a:pt x="9077616" y="2201969"/>
                  <a:pt x="9082673" y="2171962"/>
                </a:cubicBezTo>
                <a:lnTo>
                  <a:pt x="9083213" y="2165325"/>
                </a:lnTo>
                <a:cubicBezTo>
                  <a:pt x="9083382" y="2165320"/>
                  <a:pt x="9083551" y="2165315"/>
                  <a:pt x="9083718" y="2165262"/>
                </a:cubicBezTo>
                <a:cubicBezTo>
                  <a:pt x="9133995" y="1815167"/>
                  <a:pt x="9415034" y="1536596"/>
                  <a:pt x="9773884" y="1477664"/>
                </a:cubicBezTo>
                <a:lnTo>
                  <a:pt x="9774001" y="1476525"/>
                </a:lnTo>
                <a:cubicBezTo>
                  <a:pt x="9779310" y="1475523"/>
                  <a:pt x="9784638" y="1474582"/>
                  <a:pt x="9790214" y="1474998"/>
                </a:cubicBezTo>
                <a:cubicBezTo>
                  <a:pt x="9821397" y="1469485"/>
                  <a:pt x="9853290" y="1466527"/>
                  <a:pt x="9885676" y="1466004"/>
                </a:cubicBezTo>
                <a:close/>
                <a:moveTo>
                  <a:pt x="8224400" y="1464394"/>
                </a:moveTo>
                <a:lnTo>
                  <a:pt x="8241488" y="1466004"/>
                </a:lnTo>
                <a:cubicBezTo>
                  <a:pt x="8273873" y="1466527"/>
                  <a:pt x="8305766" y="1469485"/>
                  <a:pt x="8336949" y="1474998"/>
                </a:cubicBezTo>
                <a:cubicBezTo>
                  <a:pt x="8342525" y="1474582"/>
                  <a:pt x="8347853" y="1475523"/>
                  <a:pt x="8353162" y="1476525"/>
                </a:cubicBezTo>
                <a:lnTo>
                  <a:pt x="8353279" y="1477664"/>
                </a:lnTo>
                <a:cubicBezTo>
                  <a:pt x="8712129" y="1536596"/>
                  <a:pt x="8993168" y="1815167"/>
                  <a:pt x="9043444" y="2165262"/>
                </a:cubicBezTo>
                <a:cubicBezTo>
                  <a:pt x="9043612" y="2165315"/>
                  <a:pt x="9043781" y="2165320"/>
                  <a:pt x="9043950" y="2165325"/>
                </a:cubicBezTo>
                <a:lnTo>
                  <a:pt x="9044490" y="2171962"/>
                </a:lnTo>
                <a:cubicBezTo>
                  <a:pt x="9049547" y="2201969"/>
                  <a:pt x="9051997" y="2232611"/>
                  <a:pt x="9051954" y="2263693"/>
                </a:cubicBezTo>
                <a:cubicBezTo>
                  <a:pt x="9053266" y="2269279"/>
                  <a:pt x="9053325" y="2274903"/>
                  <a:pt x="9053325" y="2280541"/>
                </a:cubicBezTo>
                <a:cubicBezTo>
                  <a:pt x="9053325" y="2284333"/>
                  <a:pt x="9053298" y="2288119"/>
                  <a:pt x="9052732" y="2291891"/>
                </a:cubicBezTo>
                <a:lnTo>
                  <a:pt x="9052233" y="2291858"/>
                </a:lnTo>
                <a:lnTo>
                  <a:pt x="9052207" y="2292349"/>
                </a:lnTo>
                <a:lnTo>
                  <a:pt x="9035089" y="2290736"/>
                </a:lnTo>
                <a:cubicBezTo>
                  <a:pt x="9002714" y="2290213"/>
                  <a:pt x="8970834" y="2287255"/>
                  <a:pt x="8939662" y="2281745"/>
                </a:cubicBezTo>
                <a:cubicBezTo>
                  <a:pt x="8934085" y="2282161"/>
                  <a:pt x="8928756" y="2281220"/>
                  <a:pt x="8923445" y="2280217"/>
                </a:cubicBezTo>
                <a:lnTo>
                  <a:pt x="8923329" y="2279078"/>
                </a:lnTo>
                <a:cubicBezTo>
                  <a:pt x="8564478" y="2220146"/>
                  <a:pt x="8283439" y="1941574"/>
                  <a:pt x="8233164" y="1591480"/>
                </a:cubicBezTo>
                <a:cubicBezTo>
                  <a:pt x="8232996" y="1591427"/>
                  <a:pt x="8232828" y="1591423"/>
                  <a:pt x="8232658" y="1591418"/>
                </a:cubicBezTo>
                <a:lnTo>
                  <a:pt x="8232120" y="1584794"/>
                </a:lnTo>
                <a:cubicBezTo>
                  <a:pt x="8227061" y="1554782"/>
                  <a:pt x="8224611" y="1524133"/>
                  <a:pt x="8224653" y="1493044"/>
                </a:cubicBezTo>
                <a:cubicBezTo>
                  <a:pt x="8223341" y="1487460"/>
                  <a:pt x="8223282" y="1481838"/>
                  <a:pt x="8223282" y="1476202"/>
                </a:cubicBezTo>
                <a:lnTo>
                  <a:pt x="8223876" y="1464852"/>
                </a:lnTo>
                <a:lnTo>
                  <a:pt x="8224374" y="1464884"/>
                </a:lnTo>
                <a:close/>
                <a:moveTo>
                  <a:pt x="8210612" y="1464394"/>
                </a:moveTo>
                <a:lnTo>
                  <a:pt x="8210638" y="1464884"/>
                </a:lnTo>
                <a:lnTo>
                  <a:pt x="8211136" y="1464852"/>
                </a:lnTo>
                <a:lnTo>
                  <a:pt x="8211730" y="1476202"/>
                </a:lnTo>
                <a:cubicBezTo>
                  <a:pt x="8211730" y="1481838"/>
                  <a:pt x="8211672" y="1487460"/>
                  <a:pt x="8210360" y="1493044"/>
                </a:cubicBezTo>
                <a:cubicBezTo>
                  <a:pt x="8210402" y="1524133"/>
                  <a:pt x="8207951" y="1554782"/>
                  <a:pt x="8202893" y="1584794"/>
                </a:cubicBezTo>
                <a:lnTo>
                  <a:pt x="8202354" y="1591418"/>
                </a:lnTo>
                <a:cubicBezTo>
                  <a:pt x="8202185" y="1591423"/>
                  <a:pt x="8202016" y="1591427"/>
                  <a:pt x="8201849" y="1591480"/>
                </a:cubicBezTo>
                <a:cubicBezTo>
                  <a:pt x="8151573" y="1941574"/>
                  <a:pt x="7870534" y="2220146"/>
                  <a:pt x="7511683" y="2279078"/>
                </a:cubicBezTo>
                <a:lnTo>
                  <a:pt x="7511567" y="2280217"/>
                </a:lnTo>
                <a:cubicBezTo>
                  <a:pt x="7506256" y="2281220"/>
                  <a:pt x="7500927" y="2282161"/>
                  <a:pt x="7495350" y="2281745"/>
                </a:cubicBezTo>
                <a:cubicBezTo>
                  <a:pt x="7464178" y="2287255"/>
                  <a:pt x="7432298" y="2290213"/>
                  <a:pt x="7399924" y="2290736"/>
                </a:cubicBezTo>
                <a:lnTo>
                  <a:pt x="7382805" y="2292349"/>
                </a:lnTo>
                <a:lnTo>
                  <a:pt x="7382779" y="2291858"/>
                </a:lnTo>
                <a:lnTo>
                  <a:pt x="7382280" y="2291891"/>
                </a:lnTo>
                <a:cubicBezTo>
                  <a:pt x="7381714" y="2288119"/>
                  <a:pt x="7381687" y="2284333"/>
                  <a:pt x="7381687" y="2280541"/>
                </a:cubicBezTo>
                <a:cubicBezTo>
                  <a:pt x="7381687" y="2274903"/>
                  <a:pt x="7381746" y="2269279"/>
                  <a:pt x="7383058" y="2263693"/>
                </a:cubicBezTo>
                <a:cubicBezTo>
                  <a:pt x="7383016" y="2232611"/>
                  <a:pt x="7385465" y="2201969"/>
                  <a:pt x="7390522" y="2171962"/>
                </a:cubicBezTo>
                <a:lnTo>
                  <a:pt x="7391062" y="2165325"/>
                </a:lnTo>
                <a:cubicBezTo>
                  <a:pt x="7391231" y="2165320"/>
                  <a:pt x="7391400" y="2165315"/>
                  <a:pt x="7391568" y="2165262"/>
                </a:cubicBezTo>
                <a:cubicBezTo>
                  <a:pt x="7441844" y="1815167"/>
                  <a:pt x="7722883" y="1536596"/>
                  <a:pt x="8081734" y="1477664"/>
                </a:cubicBezTo>
                <a:lnTo>
                  <a:pt x="8081851" y="1476525"/>
                </a:lnTo>
                <a:cubicBezTo>
                  <a:pt x="8087159" y="1475523"/>
                  <a:pt x="8092487" y="1474582"/>
                  <a:pt x="8098063" y="1474998"/>
                </a:cubicBezTo>
                <a:cubicBezTo>
                  <a:pt x="8129247" y="1469485"/>
                  <a:pt x="8161139" y="1466527"/>
                  <a:pt x="8193525" y="1466004"/>
                </a:cubicBezTo>
                <a:close/>
                <a:moveTo>
                  <a:pt x="6532249" y="1464394"/>
                </a:moveTo>
                <a:lnTo>
                  <a:pt x="6549337" y="1466004"/>
                </a:lnTo>
                <a:cubicBezTo>
                  <a:pt x="6581722" y="1466527"/>
                  <a:pt x="6613615" y="1469485"/>
                  <a:pt x="6644798" y="1474998"/>
                </a:cubicBezTo>
                <a:cubicBezTo>
                  <a:pt x="6650374" y="1474582"/>
                  <a:pt x="6655702" y="1475523"/>
                  <a:pt x="6661011" y="1476525"/>
                </a:cubicBezTo>
                <a:lnTo>
                  <a:pt x="6661128" y="1477664"/>
                </a:lnTo>
                <a:cubicBezTo>
                  <a:pt x="7019978" y="1536596"/>
                  <a:pt x="7301017" y="1815167"/>
                  <a:pt x="7351294" y="2165262"/>
                </a:cubicBezTo>
                <a:cubicBezTo>
                  <a:pt x="7351461" y="2165315"/>
                  <a:pt x="7351631" y="2165320"/>
                  <a:pt x="7351799" y="2165325"/>
                </a:cubicBezTo>
                <a:lnTo>
                  <a:pt x="7352340" y="2171962"/>
                </a:lnTo>
                <a:cubicBezTo>
                  <a:pt x="7357396" y="2201969"/>
                  <a:pt x="7359846" y="2232611"/>
                  <a:pt x="7359804" y="2263693"/>
                </a:cubicBezTo>
                <a:cubicBezTo>
                  <a:pt x="7361116" y="2269279"/>
                  <a:pt x="7361174" y="2274903"/>
                  <a:pt x="7361174" y="2280541"/>
                </a:cubicBezTo>
                <a:cubicBezTo>
                  <a:pt x="7361174" y="2284333"/>
                  <a:pt x="7361147" y="2288119"/>
                  <a:pt x="7360581" y="2291891"/>
                </a:cubicBezTo>
                <a:lnTo>
                  <a:pt x="7360082" y="2291858"/>
                </a:lnTo>
                <a:lnTo>
                  <a:pt x="7360056" y="2292349"/>
                </a:lnTo>
                <a:lnTo>
                  <a:pt x="7342938" y="2290736"/>
                </a:lnTo>
                <a:cubicBezTo>
                  <a:pt x="7310564" y="2290213"/>
                  <a:pt x="7278683" y="2287255"/>
                  <a:pt x="7247511" y="2281745"/>
                </a:cubicBezTo>
                <a:cubicBezTo>
                  <a:pt x="7241934" y="2282161"/>
                  <a:pt x="7236605" y="2281220"/>
                  <a:pt x="7231295" y="2280217"/>
                </a:cubicBezTo>
                <a:lnTo>
                  <a:pt x="7231179" y="2279078"/>
                </a:lnTo>
                <a:cubicBezTo>
                  <a:pt x="6872327" y="2220146"/>
                  <a:pt x="6591288" y="1941574"/>
                  <a:pt x="6541013" y="1591480"/>
                </a:cubicBezTo>
                <a:cubicBezTo>
                  <a:pt x="6540845" y="1591427"/>
                  <a:pt x="6540677" y="1591423"/>
                  <a:pt x="6540507" y="1591418"/>
                </a:cubicBezTo>
                <a:lnTo>
                  <a:pt x="6539969" y="1584794"/>
                </a:lnTo>
                <a:cubicBezTo>
                  <a:pt x="6534910" y="1554782"/>
                  <a:pt x="6532460" y="1524133"/>
                  <a:pt x="6532502" y="1493044"/>
                </a:cubicBezTo>
                <a:cubicBezTo>
                  <a:pt x="6531190" y="1487460"/>
                  <a:pt x="6531131" y="1481838"/>
                  <a:pt x="6531131" y="1476202"/>
                </a:cubicBezTo>
                <a:lnTo>
                  <a:pt x="6531725" y="1464852"/>
                </a:lnTo>
                <a:lnTo>
                  <a:pt x="6532223" y="1464884"/>
                </a:lnTo>
                <a:close/>
                <a:moveTo>
                  <a:pt x="6518461" y="1464394"/>
                </a:moveTo>
                <a:lnTo>
                  <a:pt x="6518487" y="1464884"/>
                </a:lnTo>
                <a:lnTo>
                  <a:pt x="6518985" y="1464852"/>
                </a:lnTo>
                <a:lnTo>
                  <a:pt x="6519579" y="1476202"/>
                </a:lnTo>
                <a:cubicBezTo>
                  <a:pt x="6519579" y="1481838"/>
                  <a:pt x="6519520" y="1487460"/>
                  <a:pt x="6518208" y="1493044"/>
                </a:cubicBezTo>
                <a:cubicBezTo>
                  <a:pt x="6518250" y="1524133"/>
                  <a:pt x="6515800" y="1554782"/>
                  <a:pt x="6510741" y="1584794"/>
                </a:cubicBezTo>
                <a:lnTo>
                  <a:pt x="6510203" y="1591418"/>
                </a:lnTo>
                <a:cubicBezTo>
                  <a:pt x="6510033" y="1591423"/>
                  <a:pt x="6509865" y="1591427"/>
                  <a:pt x="6509697" y="1591480"/>
                </a:cubicBezTo>
                <a:cubicBezTo>
                  <a:pt x="6459422" y="1941574"/>
                  <a:pt x="6178383" y="2220146"/>
                  <a:pt x="5819531" y="2279078"/>
                </a:cubicBezTo>
                <a:lnTo>
                  <a:pt x="5819415" y="2280217"/>
                </a:lnTo>
                <a:cubicBezTo>
                  <a:pt x="5814105" y="2281220"/>
                  <a:pt x="5808776" y="2282161"/>
                  <a:pt x="5803199" y="2281745"/>
                </a:cubicBezTo>
                <a:cubicBezTo>
                  <a:pt x="5772027" y="2287255"/>
                  <a:pt x="5740146" y="2290213"/>
                  <a:pt x="5707772" y="2290736"/>
                </a:cubicBezTo>
                <a:lnTo>
                  <a:pt x="5690654" y="2292349"/>
                </a:lnTo>
                <a:lnTo>
                  <a:pt x="5690628" y="2291858"/>
                </a:lnTo>
                <a:lnTo>
                  <a:pt x="5690129" y="2291891"/>
                </a:lnTo>
                <a:cubicBezTo>
                  <a:pt x="5689563" y="2288119"/>
                  <a:pt x="5689536" y="2284333"/>
                  <a:pt x="5689536" y="2280541"/>
                </a:cubicBezTo>
                <a:cubicBezTo>
                  <a:pt x="5689536" y="2274903"/>
                  <a:pt x="5689594" y="2269279"/>
                  <a:pt x="5690906" y="2263693"/>
                </a:cubicBezTo>
                <a:cubicBezTo>
                  <a:pt x="5690864" y="2232611"/>
                  <a:pt x="5693314" y="2201969"/>
                  <a:pt x="5698370" y="2171962"/>
                </a:cubicBezTo>
                <a:lnTo>
                  <a:pt x="5698911" y="2165325"/>
                </a:lnTo>
                <a:cubicBezTo>
                  <a:pt x="5699079" y="2165320"/>
                  <a:pt x="5699249" y="2165315"/>
                  <a:pt x="5699416" y="2165262"/>
                </a:cubicBezTo>
                <a:cubicBezTo>
                  <a:pt x="5749693" y="1815167"/>
                  <a:pt x="6030732" y="1536596"/>
                  <a:pt x="6389582" y="1477664"/>
                </a:cubicBezTo>
                <a:lnTo>
                  <a:pt x="6389699" y="1476525"/>
                </a:lnTo>
                <a:cubicBezTo>
                  <a:pt x="6395008" y="1475523"/>
                  <a:pt x="6400336" y="1474582"/>
                  <a:pt x="6405912" y="1474998"/>
                </a:cubicBezTo>
                <a:cubicBezTo>
                  <a:pt x="6437095" y="1469485"/>
                  <a:pt x="6468988" y="1466527"/>
                  <a:pt x="6501373" y="1466004"/>
                </a:cubicBezTo>
                <a:close/>
                <a:moveTo>
                  <a:pt x="4840098" y="1464394"/>
                </a:moveTo>
                <a:lnTo>
                  <a:pt x="4857185" y="1466004"/>
                </a:lnTo>
                <a:cubicBezTo>
                  <a:pt x="4889571" y="1466527"/>
                  <a:pt x="4921463" y="1469485"/>
                  <a:pt x="4952647" y="1474998"/>
                </a:cubicBezTo>
                <a:cubicBezTo>
                  <a:pt x="4958223" y="1474582"/>
                  <a:pt x="4963551" y="1475523"/>
                  <a:pt x="4968859" y="1476525"/>
                </a:cubicBezTo>
                <a:lnTo>
                  <a:pt x="4968976" y="1477664"/>
                </a:lnTo>
                <a:cubicBezTo>
                  <a:pt x="5327827" y="1536596"/>
                  <a:pt x="5608866" y="1815167"/>
                  <a:pt x="5659142" y="2165262"/>
                </a:cubicBezTo>
                <a:cubicBezTo>
                  <a:pt x="5659310" y="2165315"/>
                  <a:pt x="5659479" y="2165320"/>
                  <a:pt x="5659648" y="2165325"/>
                </a:cubicBezTo>
                <a:lnTo>
                  <a:pt x="5660188" y="2171962"/>
                </a:lnTo>
                <a:cubicBezTo>
                  <a:pt x="5665245" y="2201969"/>
                  <a:pt x="5667694" y="2232611"/>
                  <a:pt x="5667652" y="2263693"/>
                </a:cubicBezTo>
                <a:cubicBezTo>
                  <a:pt x="5668964" y="2269279"/>
                  <a:pt x="5669023" y="2274903"/>
                  <a:pt x="5669023" y="2280541"/>
                </a:cubicBezTo>
                <a:cubicBezTo>
                  <a:pt x="5669023" y="2284333"/>
                  <a:pt x="5668996" y="2288119"/>
                  <a:pt x="5668430" y="2291891"/>
                </a:cubicBezTo>
                <a:lnTo>
                  <a:pt x="5667931" y="2291858"/>
                </a:lnTo>
                <a:lnTo>
                  <a:pt x="5667905" y="2292349"/>
                </a:lnTo>
                <a:lnTo>
                  <a:pt x="5650786" y="2290736"/>
                </a:lnTo>
                <a:cubicBezTo>
                  <a:pt x="5618412" y="2290213"/>
                  <a:pt x="5586532" y="2287255"/>
                  <a:pt x="5555360" y="2281745"/>
                </a:cubicBezTo>
                <a:cubicBezTo>
                  <a:pt x="5549783" y="2282161"/>
                  <a:pt x="5544454" y="2281220"/>
                  <a:pt x="5539143" y="2280217"/>
                </a:cubicBezTo>
                <a:lnTo>
                  <a:pt x="5539027" y="2279078"/>
                </a:lnTo>
                <a:cubicBezTo>
                  <a:pt x="5180176" y="2220146"/>
                  <a:pt x="4899137" y="1941574"/>
                  <a:pt x="4848861" y="1591480"/>
                </a:cubicBezTo>
                <a:cubicBezTo>
                  <a:pt x="4848694" y="1591427"/>
                  <a:pt x="4848525" y="1591423"/>
                  <a:pt x="4848356" y="1591418"/>
                </a:cubicBezTo>
                <a:lnTo>
                  <a:pt x="4847817" y="1584794"/>
                </a:lnTo>
                <a:cubicBezTo>
                  <a:pt x="4842759" y="1554782"/>
                  <a:pt x="4840308" y="1524133"/>
                  <a:pt x="4840350" y="1493044"/>
                </a:cubicBezTo>
                <a:cubicBezTo>
                  <a:pt x="4839038" y="1487460"/>
                  <a:pt x="4838980" y="1481838"/>
                  <a:pt x="4838980" y="1476202"/>
                </a:cubicBezTo>
                <a:lnTo>
                  <a:pt x="4839574" y="1464852"/>
                </a:lnTo>
                <a:lnTo>
                  <a:pt x="4840072" y="1464884"/>
                </a:lnTo>
                <a:close/>
                <a:moveTo>
                  <a:pt x="4826310" y="1464394"/>
                </a:moveTo>
                <a:lnTo>
                  <a:pt x="4826336" y="1464884"/>
                </a:lnTo>
                <a:lnTo>
                  <a:pt x="4826834" y="1464852"/>
                </a:lnTo>
                <a:lnTo>
                  <a:pt x="4827428" y="1476202"/>
                </a:lnTo>
                <a:cubicBezTo>
                  <a:pt x="4827428" y="1481838"/>
                  <a:pt x="4827369" y="1487460"/>
                  <a:pt x="4826057" y="1493044"/>
                </a:cubicBezTo>
                <a:cubicBezTo>
                  <a:pt x="4826099" y="1524133"/>
                  <a:pt x="4823649" y="1554782"/>
                  <a:pt x="4818590" y="1584794"/>
                </a:cubicBezTo>
                <a:lnTo>
                  <a:pt x="4818052" y="1591418"/>
                </a:lnTo>
                <a:cubicBezTo>
                  <a:pt x="4817882" y="1591423"/>
                  <a:pt x="4817714" y="1591427"/>
                  <a:pt x="4817546" y="1591480"/>
                </a:cubicBezTo>
                <a:cubicBezTo>
                  <a:pt x="4767271" y="1941574"/>
                  <a:pt x="4486232" y="2220146"/>
                  <a:pt x="4127381" y="2279078"/>
                </a:cubicBezTo>
                <a:lnTo>
                  <a:pt x="4127264" y="2280217"/>
                </a:lnTo>
                <a:cubicBezTo>
                  <a:pt x="4121954" y="2281220"/>
                  <a:pt x="4116625" y="2282161"/>
                  <a:pt x="4111048" y="2281745"/>
                </a:cubicBezTo>
                <a:cubicBezTo>
                  <a:pt x="4079876" y="2287255"/>
                  <a:pt x="4047996" y="2290213"/>
                  <a:pt x="4015621" y="2290736"/>
                </a:cubicBezTo>
                <a:lnTo>
                  <a:pt x="3998503" y="2292349"/>
                </a:lnTo>
                <a:lnTo>
                  <a:pt x="3998477" y="2291858"/>
                </a:lnTo>
                <a:lnTo>
                  <a:pt x="3997978" y="2291891"/>
                </a:lnTo>
                <a:cubicBezTo>
                  <a:pt x="3997412" y="2288119"/>
                  <a:pt x="3997385" y="2284333"/>
                  <a:pt x="3997385" y="2280541"/>
                </a:cubicBezTo>
                <a:cubicBezTo>
                  <a:pt x="3997385" y="2274903"/>
                  <a:pt x="3997443" y="2269279"/>
                  <a:pt x="3998755" y="2263693"/>
                </a:cubicBezTo>
                <a:cubicBezTo>
                  <a:pt x="3998713" y="2232611"/>
                  <a:pt x="4001163" y="2201969"/>
                  <a:pt x="4006219" y="2171962"/>
                </a:cubicBezTo>
                <a:lnTo>
                  <a:pt x="4006760" y="2165325"/>
                </a:lnTo>
                <a:cubicBezTo>
                  <a:pt x="4006928" y="2165320"/>
                  <a:pt x="4007098" y="2165315"/>
                  <a:pt x="4007265" y="2165262"/>
                </a:cubicBezTo>
                <a:cubicBezTo>
                  <a:pt x="4057542" y="1815167"/>
                  <a:pt x="4338581" y="1536596"/>
                  <a:pt x="4697431" y="1477664"/>
                </a:cubicBezTo>
                <a:lnTo>
                  <a:pt x="4697548" y="1476525"/>
                </a:lnTo>
                <a:cubicBezTo>
                  <a:pt x="4702857" y="1475523"/>
                  <a:pt x="4708185" y="1474582"/>
                  <a:pt x="4713761" y="1474998"/>
                </a:cubicBezTo>
                <a:cubicBezTo>
                  <a:pt x="4744944" y="1469485"/>
                  <a:pt x="4776837" y="1466527"/>
                  <a:pt x="4809222" y="1466004"/>
                </a:cubicBezTo>
                <a:close/>
                <a:moveTo>
                  <a:pt x="3147947" y="1464394"/>
                </a:moveTo>
                <a:lnTo>
                  <a:pt x="3165034" y="1466004"/>
                </a:lnTo>
                <a:cubicBezTo>
                  <a:pt x="3197420" y="1466527"/>
                  <a:pt x="3229312" y="1469485"/>
                  <a:pt x="3260496" y="1474998"/>
                </a:cubicBezTo>
                <a:cubicBezTo>
                  <a:pt x="3266072" y="1474582"/>
                  <a:pt x="3271400" y="1475523"/>
                  <a:pt x="3276708" y="1476525"/>
                </a:cubicBezTo>
                <a:lnTo>
                  <a:pt x="3276826" y="1477664"/>
                </a:lnTo>
                <a:cubicBezTo>
                  <a:pt x="3635676" y="1536596"/>
                  <a:pt x="3916715" y="1815167"/>
                  <a:pt x="3966991" y="2165262"/>
                </a:cubicBezTo>
                <a:cubicBezTo>
                  <a:pt x="3967159" y="2165315"/>
                  <a:pt x="3967328" y="2165320"/>
                  <a:pt x="3967497" y="2165325"/>
                </a:cubicBezTo>
                <a:lnTo>
                  <a:pt x="3968037" y="2171962"/>
                </a:lnTo>
                <a:cubicBezTo>
                  <a:pt x="3973094" y="2201969"/>
                  <a:pt x="3975543" y="2232611"/>
                  <a:pt x="3975501" y="2263693"/>
                </a:cubicBezTo>
                <a:cubicBezTo>
                  <a:pt x="3976813" y="2269279"/>
                  <a:pt x="3976872" y="2274903"/>
                  <a:pt x="3976872" y="2280541"/>
                </a:cubicBezTo>
                <a:cubicBezTo>
                  <a:pt x="3976872" y="2284333"/>
                  <a:pt x="3976845" y="2288119"/>
                  <a:pt x="3976279" y="2291891"/>
                </a:cubicBezTo>
                <a:lnTo>
                  <a:pt x="3975780" y="2291858"/>
                </a:lnTo>
                <a:lnTo>
                  <a:pt x="3975754" y="2292349"/>
                </a:lnTo>
                <a:lnTo>
                  <a:pt x="3958635" y="2290736"/>
                </a:lnTo>
                <a:cubicBezTo>
                  <a:pt x="3926261" y="2290213"/>
                  <a:pt x="3894381" y="2287255"/>
                  <a:pt x="3863209" y="2281745"/>
                </a:cubicBezTo>
                <a:cubicBezTo>
                  <a:pt x="3857632" y="2282161"/>
                  <a:pt x="3852303" y="2281220"/>
                  <a:pt x="3846992" y="2280217"/>
                </a:cubicBezTo>
                <a:lnTo>
                  <a:pt x="3846876" y="2279078"/>
                </a:lnTo>
                <a:cubicBezTo>
                  <a:pt x="3488025" y="2220146"/>
                  <a:pt x="3206986" y="1941574"/>
                  <a:pt x="3156710" y="1591480"/>
                </a:cubicBezTo>
                <a:cubicBezTo>
                  <a:pt x="3156543" y="1591427"/>
                  <a:pt x="3156374" y="1591423"/>
                  <a:pt x="3156205" y="1591418"/>
                </a:cubicBezTo>
                <a:lnTo>
                  <a:pt x="3155667" y="1584794"/>
                </a:lnTo>
                <a:cubicBezTo>
                  <a:pt x="3150608" y="1554782"/>
                  <a:pt x="3148157" y="1524133"/>
                  <a:pt x="3148199" y="1493044"/>
                </a:cubicBezTo>
                <a:cubicBezTo>
                  <a:pt x="3146887" y="1487460"/>
                  <a:pt x="3146829" y="1481838"/>
                  <a:pt x="3146829" y="1476202"/>
                </a:cubicBezTo>
                <a:lnTo>
                  <a:pt x="3147423" y="1464852"/>
                </a:lnTo>
                <a:lnTo>
                  <a:pt x="3147921" y="1464884"/>
                </a:lnTo>
                <a:close/>
                <a:moveTo>
                  <a:pt x="3134159" y="1464394"/>
                </a:moveTo>
                <a:lnTo>
                  <a:pt x="3134185" y="1464884"/>
                </a:lnTo>
                <a:lnTo>
                  <a:pt x="3134683" y="1464852"/>
                </a:lnTo>
                <a:lnTo>
                  <a:pt x="3135277" y="1476202"/>
                </a:lnTo>
                <a:cubicBezTo>
                  <a:pt x="3135277" y="1481838"/>
                  <a:pt x="3135218" y="1487460"/>
                  <a:pt x="3133906" y="1493044"/>
                </a:cubicBezTo>
                <a:cubicBezTo>
                  <a:pt x="3133948" y="1524133"/>
                  <a:pt x="3131498" y="1554782"/>
                  <a:pt x="3126439" y="1584794"/>
                </a:cubicBezTo>
                <a:lnTo>
                  <a:pt x="3125901" y="1591418"/>
                </a:lnTo>
                <a:cubicBezTo>
                  <a:pt x="3125731" y="1591423"/>
                  <a:pt x="3125563" y="1591427"/>
                  <a:pt x="3125395" y="1591480"/>
                </a:cubicBezTo>
                <a:cubicBezTo>
                  <a:pt x="3075120" y="1941574"/>
                  <a:pt x="2794081" y="2220146"/>
                  <a:pt x="2435230" y="2279078"/>
                </a:cubicBezTo>
                <a:lnTo>
                  <a:pt x="2435113" y="2280217"/>
                </a:lnTo>
                <a:cubicBezTo>
                  <a:pt x="2429803" y="2281220"/>
                  <a:pt x="2424474" y="2282161"/>
                  <a:pt x="2418897" y="2281745"/>
                </a:cubicBezTo>
                <a:cubicBezTo>
                  <a:pt x="2387725" y="2287255"/>
                  <a:pt x="2355845" y="2290213"/>
                  <a:pt x="2323470" y="2290736"/>
                </a:cubicBezTo>
                <a:lnTo>
                  <a:pt x="2306352" y="2292349"/>
                </a:lnTo>
                <a:lnTo>
                  <a:pt x="2306326" y="2291858"/>
                </a:lnTo>
                <a:lnTo>
                  <a:pt x="2305827" y="2291891"/>
                </a:lnTo>
                <a:cubicBezTo>
                  <a:pt x="2305261" y="2288119"/>
                  <a:pt x="2305234" y="2284333"/>
                  <a:pt x="2305234" y="2280541"/>
                </a:cubicBezTo>
                <a:cubicBezTo>
                  <a:pt x="2305234" y="2274903"/>
                  <a:pt x="2305292" y="2269279"/>
                  <a:pt x="2306604" y="2263693"/>
                </a:cubicBezTo>
                <a:cubicBezTo>
                  <a:pt x="2306562" y="2232611"/>
                  <a:pt x="2309012" y="2201969"/>
                  <a:pt x="2314068" y="2171962"/>
                </a:cubicBezTo>
                <a:lnTo>
                  <a:pt x="2314609" y="2165325"/>
                </a:lnTo>
                <a:cubicBezTo>
                  <a:pt x="2314777" y="2165320"/>
                  <a:pt x="2314947" y="2165315"/>
                  <a:pt x="2315114" y="2165262"/>
                </a:cubicBezTo>
                <a:cubicBezTo>
                  <a:pt x="2365391" y="1815167"/>
                  <a:pt x="2646430" y="1536596"/>
                  <a:pt x="3005280" y="1477664"/>
                </a:cubicBezTo>
                <a:lnTo>
                  <a:pt x="3005397" y="1476525"/>
                </a:lnTo>
                <a:cubicBezTo>
                  <a:pt x="3010706" y="1475523"/>
                  <a:pt x="3016034" y="1474582"/>
                  <a:pt x="3021610" y="1474998"/>
                </a:cubicBezTo>
                <a:cubicBezTo>
                  <a:pt x="3052793" y="1469485"/>
                  <a:pt x="3084686" y="1466527"/>
                  <a:pt x="3117071" y="1466004"/>
                </a:cubicBezTo>
                <a:close/>
                <a:moveTo>
                  <a:pt x="1455796" y="1464394"/>
                </a:moveTo>
                <a:lnTo>
                  <a:pt x="1472883" y="1466004"/>
                </a:lnTo>
                <a:cubicBezTo>
                  <a:pt x="1505269" y="1466527"/>
                  <a:pt x="1537161" y="1469485"/>
                  <a:pt x="1568345" y="1474998"/>
                </a:cubicBezTo>
                <a:cubicBezTo>
                  <a:pt x="1573921" y="1474582"/>
                  <a:pt x="1579249" y="1475523"/>
                  <a:pt x="1584557" y="1476525"/>
                </a:cubicBezTo>
                <a:lnTo>
                  <a:pt x="1584675" y="1477664"/>
                </a:lnTo>
                <a:cubicBezTo>
                  <a:pt x="1943525" y="1536596"/>
                  <a:pt x="2224564" y="1815167"/>
                  <a:pt x="2274840" y="2165262"/>
                </a:cubicBezTo>
                <a:cubicBezTo>
                  <a:pt x="2275008" y="2165315"/>
                  <a:pt x="2275177" y="2165320"/>
                  <a:pt x="2275346" y="2165325"/>
                </a:cubicBezTo>
                <a:lnTo>
                  <a:pt x="2275886" y="2171962"/>
                </a:lnTo>
                <a:cubicBezTo>
                  <a:pt x="2280943" y="2201969"/>
                  <a:pt x="2283392" y="2232611"/>
                  <a:pt x="2283350" y="2263693"/>
                </a:cubicBezTo>
                <a:cubicBezTo>
                  <a:pt x="2284662" y="2269279"/>
                  <a:pt x="2284721" y="2274903"/>
                  <a:pt x="2284721" y="2280541"/>
                </a:cubicBezTo>
                <a:cubicBezTo>
                  <a:pt x="2284721" y="2284333"/>
                  <a:pt x="2284694" y="2288119"/>
                  <a:pt x="2284128" y="2291891"/>
                </a:cubicBezTo>
                <a:lnTo>
                  <a:pt x="2283629" y="2291858"/>
                </a:lnTo>
                <a:lnTo>
                  <a:pt x="2283603" y="2292349"/>
                </a:lnTo>
                <a:lnTo>
                  <a:pt x="2266484" y="2290736"/>
                </a:lnTo>
                <a:cubicBezTo>
                  <a:pt x="2234110" y="2290213"/>
                  <a:pt x="2202230" y="2287255"/>
                  <a:pt x="2171058" y="2281745"/>
                </a:cubicBezTo>
                <a:cubicBezTo>
                  <a:pt x="2165481" y="2282161"/>
                  <a:pt x="2160152" y="2281220"/>
                  <a:pt x="2154841" y="2280217"/>
                </a:cubicBezTo>
                <a:lnTo>
                  <a:pt x="2154725" y="2279078"/>
                </a:lnTo>
                <a:cubicBezTo>
                  <a:pt x="1795874" y="2220146"/>
                  <a:pt x="1514835" y="1941574"/>
                  <a:pt x="1464559" y="1591480"/>
                </a:cubicBezTo>
                <a:cubicBezTo>
                  <a:pt x="1464392" y="1591427"/>
                  <a:pt x="1464223" y="1591423"/>
                  <a:pt x="1464054" y="1591418"/>
                </a:cubicBezTo>
                <a:lnTo>
                  <a:pt x="1463515" y="1584794"/>
                </a:lnTo>
                <a:cubicBezTo>
                  <a:pt x="1458457" y="1554782"/>
                  <a:pt x="1456006" y="1524133"/>
                  <a:pt x="1456048" y="1493044"/>
                </a:cubicBezTo>
                <a:cubicBezTo>
                  <a:pt x="1454736" y="1487460"/>
                  <a:pt x="1454678" y="1481838"/>
                  <a:pt x="1454678" y="1476202"/>
                </a:cubicBezTo>
                <a:lnTo>
                  <a:pt x="1455272" y="1464852"/>
                </a:lnTo>
                <a:lnTo>
                  <a:pt x="1455770" y="1464884"/>
                </a:lnTo>
                <a:close/>
                <a:moveTo>
                  <a:pt x="1442008" y="1464394"/>
                </a:moveTo>
                <a:lnTo>
                  <a:pt x="1442034" y="1464884"/>
                </a:lnTo>
                <a:lnTo>
                  <a:pt x="1442532" y="1464852"/>
                </a:lnTo>
                <a:lnTo>
                  <a:pt x="1443126" y="1476202"/>
                </a:lnTo>
                <a:cubicBezTo>
                  <a:pt x="1443126" y="1481838"/>
                  <a:pt x="1443067" y="1487460"/>
                  <a:pt x="1441755" y="1493044"/>
                </a:cubicBezTo>
                <a:cubicBezTo>
                  <a:pt x="1441797" y="1524133"/>
                  <a:pt x="1439347" y="1554782"/>
                  <a:pt x="1434288" y="1584794"/>
                </a:cubicBezTo>
                <a:lnTo>
                  <a:pt x="1433750" y="1591418"/>
                </a:lnTo>
                <a:cubicBezTo>
                  <a:pt x="1433580" y="1591423"/>
                  <a:pt x="1433412" y="1591427"/>
                  <a:pt x="1433244" y="1591480"/>
                </a:cubicBezTo>
                <a:cubicBezTo>
                  <a:pt x="1382969" y="1941574"/>
                  <a:pt x="1101930" y="2220146"/>
                  <a:pt x="743079" y="2279078"/>
                </a:cubicBezTo>
                <a:lnTo>
                  <a:pt x="742962" y="2280217"/>
                </a:lnTo>
                <a:cubicBezTo>
                  <a:pt x="737652" y="2281220"/>
                  <a:pt x="732323" y="2282161"/>
                  <a:pt x="726746" y="2281745"/>
                </a:cubicBezTo>
                <a:cubicBezTo>
                  <a:pt x="695574" y="2287255"/>
                  <a:pt x="663693" y="2290213"/>
                  <a:pt x="631319" y="2290736"/>
                </a:cubicBezTo>
                <a:lnTo>
                  <a:pt x="614201" y="2292349"/>
                </a:lnTo>
                <a:lnTo>
                  <a:pt x="614175" y="2291858"/>
                </a:lnTo>
                <a:lnTo>
                  <a:pt x="613676" y="2291891"/>
                </a:lnTo>
                <a:cubicBezTo>
                  <a:pt x="613110" y="2288119"/>
                  <a:pt x="613083" y="2284333"/>
                  <a:pt x="613083" y="2280541"/>
                </a:cubicBezTo>
                <a:cubicBezTo>
                  <a:pt x="613083" y="2274903"/>
                  <a:pt x="613141" y="2269279"/>
                  <a:pt x="614453" y="2263693"/>
                </a:cubicBezTo>
                <a:cubicBezTo>
                  <a:pt x="614411" y="2232611"/>
                  <a:pt x="616861" y="2201969"/>
                  <a:pt x="621917" y="2171962"/>
                </a:cubicBezTo>
                <a:lnTo>
                  <a:pt x="622458" y="2165325"/>
                </a:lnTo>
                <a:cubicBezTo>
                  <a:pt x="622626" y="2165320"/>
                  <a:pt x="622796" y="2165315"/>
                  <a:pt x="622963" y="2165262"/>
                </a:cubicBezTo>
                <a:cubicBezTo>
                  <a:pt x="673240" y="1815167"/>
                  <a:pt x="954279" y="1536596"/>
                  <a:pt x="1313129" y="1477664"/>
                </a:cubicBezTo>
                <a:lnTo>
                  <a:pt x="1313246" y="1476525"/>
                </a:lnTo>
                <a:cubicBezTo>
                  <a:pt x="1318555" y="1475523"/>
                  <a:pt x="1323883" y="1474582"/>
                  <a:pt x="1329459" y="1474998"/>
                </a:cubicBezTo>
                <a:cubicBezTo>
                  <a:pt x="1360642" y="1469485"/>
                  <a:pt x="1392535" y="1466527"/>
                  <a:pt x="1424920" y="1466004"/>
                </a:cubicBezTo>
                <a:close/>
                <a:moveTo>
                  <a:pt x="10909360" y="750600"/>
                </a:moveTo>
                <a:cubicBezTo>
                  <a:pt x="10962636" y="1021506"/>
                  <a:pt x="11177479" y="1236303"/>
                  <a:pt x="11452669" y="1295446"/>
                </a:cubicBezTo>
                <a:cubicBezTo>
                  <a:pt x="11399394" y="1024540"/>
                  <a:pt x="11184550" y="809743"/>
                  <a:pt x="10909360" y="750600"/>
                </a:cubicBezTo>
                <a:close/>
                <a:moveTo>
                  <a:pt x="10602109" y="750600"/>
                </a:moveTo>
                <a:cubicBezTo>
                  <a:pt x="10326919" y="809743"/>
                  <a:pt x="10112075" y="1024540"/>
                  <a:pt x="10058800" y="1295446"/>
                </a:cubicBezTo>
                <a:cubicBezTo>
                  <a:pt x="10333990" y="1236303"/>
                  <a:pt x="10548833" y="1021506"/>
                  <a:pt x="10602109" y="750600"/>
                </a:cubicBezTo>
                <a:close/>
                <a:moveTo>
                  <a:pt x="9217207" y="750600"/>
                </a:moveTo>
                <a:cubicBezTo>
                  <a:pt x="9270483" y="1021506"/>
                  <a:pt x="9485326" y="1236303"/>
                  <a:pt x="9760516" y="1295446"/>
                </a:cubicBezTo>
                <a:cubicBezTo>
                  <a:pt x="9707241" y="1024540"/>
                  <a:pt x="9492397" y="809743"/>
                  <a:pt x="9217207" y="750600"/>
                </a:cubicBezTo>
                <a:close/>
                <a:moveTo>
                  <a:pt x="8909958" y="750600"/>
                </a:moveTo>
                <a:cubicBezTo>
                  <a:pt x="8634768" y="809743"/>
                  <a:pt x="8419924" y="1024540"/>
                  <a:pt x="8366649" y="1295446"/>
                </a:cubicBezTo>
                <a:cubicBezTo>
                  <a:pt x="8641839" y="1236303"/>
                  <a:pt x="8856682" y="1021506"/>
                  <a:pt x="8909958" y="750600"/>
                </a:cubicBezTo>
                <a:close/>
                <a:moveTo>
                  <a:pt x="7525056" y="750600"/>
                </a:moveTo>
                <a:cubicBezTo>
                  <a:pt x="7578332" y="1021506"/>
                  <a:pt x="7793175" y="1236303"/>
                  <a:pt x="8068365" y="1295446"/>
                </a:cubicBezTo>
                <a:cubicBezTo>
                  <a:pt x="8015090" y="1024540"/>
                  <a:pt x="7800246" y="809743"/>
                  <a:pt x="7525056" y="750600"/>
                </a:cubicBezTo>
                <a:close/>
                <a:moveTo>
                  <a:pt x="7217807" y="750600"/>
                </a:moveTo>
                <a:cubicBezTo>
                  <a:pt x="6942617" y="809743"/>
                  <a:pt x="6727773" y="1024540"/>
                  <a:pt x="6674498" y="1295446"/>
                </a:cubicBezTo>
                <a:cubicBezTo>
                  <a:pt x="6949688" y="1236303"/>
                  <a:pt x="7164531" y="1021506"/>
                  <a:pt x="7217807" y="750600"/>
                </a:cubicBezTo>
                <a:close/>
                <a:moveTo>
                  <a:pt x="5832905" y="750600"/>
                </a:moveTo>
                <a:cubicBezTo>
                  <a:pt x="5886181" y="1021506"/>
                  <a:pt x="6101024" y="1236303"/>
                  <a:pt x="6376214" y="1295446"/>
                </a:cubicBezTo>
                <a:cubicBezTo>
                  <a:pt x="6322939" y="1024540"/>
                  <a:pt x="6108095" y="809743"/>
                  <a:pt x="5832905" y="750600"/>
                </a:cubicBezTo>
                <a:close/>
                <a:moveTo>
                  <a:pt x="5525656" y="750600"/>
                </a:moveTo>
                <a:cubicBezTo>
                  <a:pt x="5250466" y="809743"/>
                  <a:pt x="5035622" y="1024540"/>
                  <a:pt x="4982347" y="1295446"/>
                </a:cubicBezTo>
                <a:cubicBezTo>
                  <a:pt x="5257537" y="1236303"/>
                  <a:pt x="5472380" y="1021506"/>
                  <a:pt x="5525656" y="750600"/>
                </a:cubicBezTo>
                <a:close/>
                <a:moveTo>
                  <a:pt x="4140754" y="750600"/>
                </a:moveTo>
                <a:cubicBezTo>
                  <a:pt x="4194030" y="1021506"/>
                  <a:pt x="4408873" y="1236303"/>
                  <a:pt x="4684063" y="1295446"/>
                </a:cubicBezTo>
                <a:cubicBezTo>
                  <a:pt x="4630788" y="1024540"/>
                  <a:pt x="4415944" y="809743"/>
                  <a:pt x="4140754" y="750600"/>
                </a:cubicBezTo>
                <a:close/>
                <a:moveTo>
                  <a:pt x="3833505" y="750600"/>
                </a:moveTo>
                <a:cubicBezTo>
                  <a:pt x="3558315" y="809743"/>
                  <a:pt x="3343471" y="1024540"/>
                  <a:pt x="3290196" y="1295446"/>
                </a:cubicBezTo>
                <a:cubicBezTo>
                  <a:pt x="3565386" y="1236303"/>
                  <a:pt x="3780229" y="1021506"/>
                  <a:pt x="3833505" y="750600"/>
                </a:cubicBezTo>
                <a:close/>
                <a:moveTo>
                  <a:pt x="2448603" y="750600"/>
                </a:moveTo>
                <a:cubicBezTo>
                  <a:pt x="2501879" y="1021506"/>
                  <a:pt x="2716722" y="1236303"/>
                  <a:pt x="2991912" y="1295446"/>
                </a:cubicBezTo>
                <a:cubicBezTo>
                  <a:pt x="2938637" y="1024540"/>
                  <a:pt x="2723793" y="809743"/>
                  <a:pt x="2448603" y="750600"/>
                </a:cubicBezTo>
                <a:close/>
                <a:moveTo>
                  <a:pt x="2141354" y="750600"/>
                </a:moveTo>
                <a:cubicBezTo>
                  <a:pt x="1866164" y="809743"/>
                  <a:pt x="1651320" y="1024540"/>
                  <a:pt x="1598045" y="1295446"/>
                </a:cubicBezTo>
                <a:cubicBezTo>
                  <a:pt x="1873235" y="1236303"/>
                  <a:pt x="2088078" y="1021506"/>
                  <a:pt x="2141354" y="750600"/>
                </a:cubicBezTo>
                <a:close/>
                <a:moveTo>
                  <a:pt x="756452" y="750600"/>
                </a:moveTo>
                <a:cubicBezTo>
                  <a:pt x="809728" y="1021506"/>
                  <a:pt x="1024571" y="1236303"/>
                  <a:pt x="1299761" y="1295446"/>
                </a:cubicBezTo>
                <a:cubicBezTo>
                  <a:pt x="1246486" y="1024540"/>
                  <a:pt x="1031642" y="809743"/>
                  <a:pt x="756452" y="750600"/>
                </a:cubicBezTo>
                <a:close/>
                <a:moveTo>
                  <a:pt x="12192000" y="647790"/>
                </a:moveTo>
                <a:lnTo>
                  <a:pt x="12192000" y="780838"/>
                </a:lnTo>
                <a:cubicBezTo>
                  <a:pt x="11966807" y="865550"/>
                  <a:pt x="11797421" y="1059155"/>
                  <a:pt x="11750953" y="1295446"/>
                </a:cubicBezTo>
                <a:cubicBezTo>
                  <a:pt x="11935988" y="1255679"/>
                  <a:pt x="12093739" y="1145540"/>
                  <a:pt x="12192000" y="994335"/>
                </a:cubicBezTo>
                <a:lnTo>
                  <a:pt x="12192000" y="1195909"/>
                </a:lnTo>
                <a:cubicBezTo>
                  <a:pt x="12071770" y="1314911"/>
                  <a:pt x="11914089" y="1397686"/>
                  <a:pt x="11737582" y="1426902"/>
                </a:cubicBezTo>
                <a:lnTo>
                  <a:pt x="11737466" y="1428050"/>
                </a:lnTo>
                <a:cubicBezTo>
                  <a:pt x="11732155" y="1429061"/>
                  <a:pt x="11726826" y="1430009"/>
                  <a:pt x="11721249" y="1429590"/>
                </a:cubicBezTo>
                <a:cubicBezTo>
                  <a:pt x="11690077" y="1435144"/>
                  <a:pt x="11658197" y="1438125"/>
                  <a:pt x="11625822" y="1438652"/>
                </a:cubicBezTo>
                <a:lnTo>
                  <a:pt x="11608704" y="1440278"/>
                </a:lnTo>
                <a:lnTo>
                  <a:pt x="11608678" y="1439783"/>
                </a:lnTo>
                <a:lnTo>
                  <a:pt x="11608179" y="1439816"/>
                </a:lnTo>
                <a:cubicBezTo>
                  <a:pt x="11607613" y="1436014"/>
                  <a:pt x="11607586" y="1432198"/>
                  <a:pt x="11607586" y="1428376"/>
                </a:cubicBezTo>
                <a:cubicBezTo>
                  <a:pt x="11607586" y="1422694"/>
                  <a:pt x="11607645" y="1417025"/>
                  <a:pt x="11608957" y="1411395"/>
                </a:cubicBezTo>
                <a:cubicBezTo>
                  <a:pt x="11608914" y="1380067"/>
                  <a:pt x="11611364" y="1349182"/>
                  <a:pt x="11616421" y="1318938"/>
                </a:cubicBezTo>
                <a:lnTo>
                  <a:pt x="11616961" y="1312248"/>
                </a:lnTo>
                <a:cubicBezTo>
                  <a:pt x="11617130" y="1312243"/>
                  <a:pt x="11617299" y="1312238"/>
                  <a:pt x="11617466" y="1312185"/>
                </a:cubicBezTo>
                <a:cubicBezTo>
                  <a:pt x="11662185" y="998329"/>
                  <a:pt x="11889463" y="741504"/>
                  <a:pt x="12192000" y="647790"/>
                </a:cubicBezTo>
                <a:close/>
                <a:moveTo>
                  <a:pt x="10767111" y="605769"/>
                </a:moveTo>
                <a:lnTo>
                  <a:pt x="10784198" y="607392"/>
                </a:lnTo>
                <a:cubicBezTo>
                  <a:pt x="10816584" y="607919"/>
                  <a:pt x="10848477" y="610900"/>
                  <a:pt x="10879660" y="616457"/>
                </a:cubicBezTo>
                <a:cubicBezTo>
                  <a:pt x="10885236" y="616038"/>
                  <a:pt x="10890564" y="616986"/>
                  <a:pt x="10895873" y="617996"/>
                </a:cubicBezTo>
                <a:lnTo>
                  <a:pt x="10895990" y="619144"/>
                </a:lnTo>
                <a:cubicBezTo>
                  <a:pt x="11254840" y="678542"/>
                  <a:pt x="11535879" y="959319"/>
                  <a:pt x="11586156" y="1312185"/>
                </a:cubicBezTo>
                <a:cubicBezTo>
                  <a:pt x="11586323" y="1312238"/>
                  <a:pt x="11586492" y="1312243"/>
                  <a:pt x="11586661" y="1312248"/>
                </a:cubicBezTo>
                <a:lnTo>
                  <a:pt x="11587201" y="1318938"/>
                </a:lnTo>
                <a:cubicBezTo>
                  <a:pt x="11592258" y="1349182"/>
                  <a:pt x="11594708" y="1380067"/>
                  <a:pt x="11594665" y="1411395"/>
                </a:cubicBezTo>
                <a:cubicBezTo>
                  <a:pt x="11595977" y="1417025"/>
                  <a:pt x="11596036" y="1422694"/>
                  <a:pt x="11596036" y="1428376"/>
                </a:cubicBezTo>
                <a:cubicBezTo>
                  <a:pt x="11596036" y="1432198"/>
                  <a:pt x="11596009" y="1436014"/>
                  <a:pt x="11595443" y="1439816"/>
                </a:cubicBezTo>
                <a:lnTo>
                  <a:pt x="11594944" y="1439783"/>
                </a:lnTo>
                <a:lnTo>
                  <a:pt x="11594918" y="1440278"/>
                </a:lnTo>
                <a:lnTo>
                  <a:pt x="11577800" y="1438652"/>
                </a:lnTo>
                <a:cubicBezTo>
                  <a:pt x="11545425" y="1438125"/>
                  <a:pt x="11513545" y="1435144"/>
                  <a:pt x="11482373" y="1429590"/>
                </a:cubicBezTo>
                <a:cubicBezTo>
                  <a:pt x="11476796" y="1430009"/>
                  <a:pt x="11471467" y="1429061"/>
                  <a:pt x="11466156" y="1428050"/>
                </a:cubicBezTo>
                <a:lnTo>
                  <a:pt x="11466040" y="1426902"/>
                </a:lnTo>
                <a:cubicBezTo>
                  <a:pt x="11107189" y="1367503"/>
                  <a:pt x="10826150" y="1086726"/>
                  <a:pt x="10775875" y="733861"/>
                </a:cubicBezTo>
                <a:cubicBezTo>
                  <a:pt x="10775707" y="733808"/>
                  <a:pt x="10775539" y="733803"/>
                  <a:pt x="10775369" y="733798"/>
                </a:cubicBezTo>
                <a:lnTo>
                  <a:pt x="10774831" y="727122"/>
                </a:lnTo>
                <a:cubicBezTo>
                  <a:pt x="10769772" y="696872"/>
                  <a:pt x="10767321" y="665981"/>
                  <a:pt x="10767364" y="634646"/>
                </a:cubicBezTo>
                <a:cubicBezTo>
                  <a:pt x="10766052" y="629018"/>
                  <a:pt x="10765993" y="623351"/>
                  <a:pt x="10765993" y="617670"/>
                </a:cubicBezTo>
                <a:lnTo>
                  <a:pt x="10766587" y="606230"/>
                </a:lnTo>
                <a:lnTo>
                  <a:pt x="10767085" y="606263"/>
                </a:lnTo>
                <a:close/>
                <a:moveTo>
                  <a:pt x="10744358" y="605769"/>
                </a:moveTo>
                <a:lnTo>
                  <a:pt x="10744384" y="606263"/>
                </a:lnTo>
                <a:lnTo>
                  <a:pt x="10744882" y="606230"/>
                </a:lnTo>
                <a:lnTo>
                  <a:pt x="10745476" y="617670"/>
                </a:lnTo>
                <a:cubicBezTo>
                  <a:pt x="10745476" y="623351"/>
                  <a:pt x="10745417" y="629018"/>
                  <a:pt x="10744105" y="634646"/>
                </a:cubicBezTo>
                <a:cubicBezTo>
                  <a:pt x="10744148" y="665981"/>
                  <a:pt x="10741697" y="696872"/>
                  <a:pt x="10736638" y="727122"/>
                </a:cubicBezTo>
                <a:lnTo>
                  <a:pt x="10736100" y="733798"/>
                </a:lnTo>
                <a:cubicBezTo>
                  <a:pt x="10735930" y="733803"/>
                  <a:pt x="10735762" y="733808"/>
                  <a:pt x="10735594" y="733861"/>
                </a:cubicBezTo>
                <a:cubicBezTo>
                  <a:pt x="10685319" y="1086726"/>
                  <a:pt x="10404280" y="1367503"/>
                  <a:pt x="10045429" y="1426902"/>
                </a:cubicBezTo>
                <a:lnTo>
                  <a:pt x="10045313" y="1428050"/>
                </a:lnTo>
                <a:cubicBezTo>
                  <a:pt x="10040002" y="1429061"/>
                  <a:pt x="10034673" y="1430009"/>
                  <a:pt x="10029096" y="1429590"/>
                </a:cubicBezTo>
                <a:cubicBezTo>
                  <a:pt x="9997924" y="1435144"/>
                  <a:pt x="9966044" y="1438125"/>
                  <a:pt x="9933669" y="1438652"/>
                </a:cubicBezTo>
                <a:lnTo>
                  <a:pt x="9916551" y="1440278"/>
                </a:lnTo>
                <a:lnTo>
                  <a:pt x="9916525" y="1439783"/>
                </a:lnTo>
                <a:lnTo>
                  <a:pt x="9916026" y="1439816"/>
                </a:lnTo>
                <a:cubicBezTo>
                  <a:pt x="9915460" y="1436014"/>
                  <a:pt x="9915433" y="1432198"/>
                  <a:pt x="9915433" y="1428376"/>
                </a:cubicBezTo>
                <a:cubicBezTo>
                  <a:pt x="9915433" y="1422694"/>
                  <a:pt x="9915492" y="1417025"/>
                  <a:pt x="9916804" y="1411395"/>
                </a:cubicBezTo>
                <a:cubicBezTo>
                  <a:pt x="9916761" y="1380067"/>
                  <a:pt x="9919211" y="1349182"/>
                  <a:pt x="9924268" y="1318938"/>
                </a:cubicBezTo>
                <a:lnTo>
                  <a:pt x="9924808" y="1312248"/>
                </a:lnTo>
                <a:cubicBezTo>
                  <a:pt x="9924977" y="1312243"/>
                  <a:pt x="9925146" y="1312238"/>
                  <a:pt x="9925314" y="1312185"/>
                </a:cubicBezTo>
                <a:cubicBezTo>
                  <a:pt x="9975590" y="959319"/>
                  <a:pt x="10256629" y="678542"/>
                  <a:pt x="10615479" y="619144"/>
                </a:cubicBezTo>
                <a:lnTo>
                  <a:pt x="10615596" y="617996"/>
                </a:lnTo>
                <a:cubicBezTo>
                  <a:pt x="10620905" y="616986"/>
                  <a:pt x="10626233" y="616038"/>
                  <a:pt x="10631809" y="616457"/>
                </a:cubicBezTo>
                <a:cubicBezTo>
                  <a:pt x="10662992" y="610900"/>
                  <a:pt x="10694885" y="607919"/>
                  <a:pt x="10727271" y="607392"/>
                </a:cubicBezTo>
                <a:close/>
                <a:moveTo>
                  <a:pt x="9074958" y="605769"/>
                </a:moveTo>
                <a:lnTo>
                  <a:pt x="9092045" y="607392"/>
                </a:lnTo>
                <a:cubicBezTo>
                  <a:pt x="9124431" y="607919"/>
                  <a:pt x="9156324" y="610900"/>
                  <a:pt x="9187507" y="616457"/>
                </a:cubicBezTo>
                <a:cubicBezTo>
                  <a:pt x="9193083" y="616038"/>
                  <a:pt x="9198411" y="616986"/>
                  <a:pt x="9203720" y="617996"/>
                </a:cubicBezTo>
                <a:lnTo>
                  <a:pt x="9203837" y="619144"/>
                </a:lnTo>
                <a:cubicBezTo>
                  <a:pt x="9562687" y="678542"/>
                  <a:pt x="9843726" y="959319"/>
                  <a:pt x="9894002" y="1312185"/>
                </a:cubicBezTo>
                <a:cubicBezTo>
                  <a:pt x="9894170" y="1312238"/>
                  <a:pt x="9894339" y="1312243"/>
                  <a:pt x="9894508" y="1312248"/>
                </a:cubicBezTo>
                <a:lnTo>
                  <a:pt x="9895048" y="1318938"/>
                </a:lnTo>
                <a:cubicBezTo>
                  <a:pt x="9900105" y="1349182"/>
                  <a:pt x="9902555" y="1380067"/>
                  <a:pt x="9902512" y="1411395"/>
                </a:cubicBezTo>
                <a:cubicBezTo>
                  <a:pt x="9903824" y="1417025"/>
                  <a:pt x="9903883" y="1422694"/>
                  <a:pt x="9903883" y="1428376"/>
                </a:cubicBezTo>
                <a:cubicBezTo>
                  <a:pt x="9903883" y="1432198"/>
                  <a:pt x="9903856" y="1436014"/>
                  <a:pt x="9903290" y="1439816"/>
                </a:cubicBezTo>
                <a:lnTo>
                  <a:pt x="9902791" y="1439783"/>
                </a:lnTo>
                <a:lnTo>
                  <a:pt x="9902765" y="1440278"/>
                </a:lnTo>
                <a:lnTo>
                  <a:pt x="9885647" y="1438652"/>
                </a:lnTo>
                <a:cubicBezTo>
                  <a:pt x="9853272" y="1438125"/>
                  <a:pt x="9821392" y="1435144"/>
                  <a:pt x="9790220" y="1429590"/>
                </a:cubicBezTo>
                <a:cubicBezTo>
                  <a:pt x="9784643" y="1430009"/>
                  <a:pt x="9779314" y="1429061"/>
                  <a:pt x="9774003" y="1428050"/>
                </a:cubicBezTo>
                <a:lnTo>
                  <a:pt x="9773887" y="1426902"/>
                </a:lnTo>
                <a:cubicBezTo>
                  <a:pt x="9415036" y="1367503"/>
                  <a:pt x="9133997" y="1086726"/>
                  <a:pt x="9083722" y="733861"/>
                </a:cubicBezTo>
                <a:cubicBezTo>
                  <a:pt x="9083554" y="733808"/>
                  <a:pt x="9083386" y="733803"/>
                  <a:pt x="9083216" y="733798"/>
                </a:cubicBezTo>
                <a:lnTo>
                  <a:pt x="9082678" y="727122"/>
                </a:lnTo>
                <a:cubicBezTo>
                  <a:pt x="9077619" y="696872"/>
                  <a:pt x="9075168" y="665981"/>
                  <a:pt x="9075211" y="634646"/>
                </a:cubicBezTo>
                <a:cubicBezTo>
                  <a:pt x="9073899" y="629018"/>
                  <a:pt x="9073840" y="623351"/>
                  <a:pt x="9073840" y="617670"/>
                </a:cubicBezTo>
                <a:lnTo>
                  <a:pt x="9074434" y="606230"/>
                </a:lnTo>
                <a:lnTo>
                  <a:pt x="9074932" y="606263"/>
                </a:lnTo>
                <a:close/>
                <a:moveTo>
                  <a:pt x="9052207" y="605769"/>
                </a:moveTo>
                <a:lnTo>
                  <a:pt x="9052233" y="606263"/>
                </a:lnTo>
                <a:lnTo>
                  <a:pt x="9052731" y="606230"/>
                </a:lnTo>
                <a:lnTo>
                  <a:pt x="9053325" y="617670"/>
                </a:lnTo>
                <a:cubicBezTo>
                  <a:pt x="9053325" y="623351"/>
                  <a:pt x="9053266" y="629018"/>
                  <a:pt x="9051954" y="634646"/>
                </a:cubicBezTo>
                <a:cubicBezTo>
                  <a:pt x="9051997" y="665981"/>
                  <a:pt x="9049546" y="696872"/>
                  <a:pt x="9044487" y="727122"/>
                </a:cubicBezTo>
                <a:lnTo>
                  <a:pt x="9043949" y="733798"/>
                </a:lnTo>
                <a:cubicBezTo>
                  <a:pt x="9043779" y="733803"/>
                  <a:pt x="9043611" y="733808"/>
                  <a:pt x="9043443" y="733861"/>
                </a:cubicBezTo>
                <a:cubicBezTo>
                  <a:pt x="8993168" y="1086726"/>
                  <a:pt x="8712129" y="1367503"/>
                  <a:pt x="8353278" y="1426902"/>
                </a:cubicBezTo>
                <a:lnTo>
                  <a:pt x="8353162" y="1428050"/>
                </a:lnTo>
                <a:cubicBezTo>
                  <a:pt x="8347851" y="1429061"/>
                  <a:pt x="8342522" y="1430009"/>
                  <a:pt x="8336945" y="1429590"/>
                </a:cubicBezTo>
                <a:cubicBezTo>
                  <a:pt x="8305773" y="1435144"/>
                  <a:pt x="8273893" y="1438125"/>
                  <a:pt x="8241519" y="1438652"/>
                </a:cubicBezTo>
                <a:lnTo>
                  <a:pt x="8224400" y="1440278"/>
                </a:lnTo>
                <a:lnTo>
                  <a:pt x="8224374" y="1439783"/>
                </a:lnTo>
                <a:lnTo>
                  <a:pt x="8223875" y="1439816"/>
                </a:lnTo>
                <a:cubicBezTo>
                  <a:pt x="8223309" y="1436014"/>
                  <a:pt x="8223282" y="1432198"/>
                  <a:pt x="8223282" y="1428376"/>
                </a:cubicBezTo>
                <a:cubicBezTo>
                  <a:pt x="8223282" y="1422694"/>
                  <a:pt x="8223341" y="1417025"/>
                  <a:pt x="8224653" y="1411395"/>
                </a:cubicBezTo>
                <a:cubicBezTo>
                  <a:pt x="8224611" y="1380067"/>
                  <a:pt x="8227060" y="1349182"/>
                  <a:pt x="8232117" y="1318938"/>
                </a:cubicBezTo>
                <a:lnTo>
                  <a:pt x="8232657" y="1312248"/>
                </a:lnTo>
                <a:cubicBezTo>
                  <a:pt x="8232826" y="1312243"/>
                  <a:pt x="8232995" y="1312238"/>
                  <a:pt x="8233163" y="1312185"/>
                </a:cubicBezTo>
                <a:cubicBezTo>
                  <a:pt x="8283439" y="959319"/>
                  <a:pt x="8564478" y="678542"/>
                  <a:pt x="8923328" y="619144"/>
                </a:cubicBezTo>
                <a:lnTo>
                  <a:pt x="8923445" y="617996"/>
                </a:lnTo>
                <a:cubicBezTo>
                  <a:pt x="8928754" y="616986"/>
                  <a:pt x="8934082" y="616038"/>
                  <a:pt x="8939658" y="616457"/>
                </a:cubicBezTo>
                <a:cubicBezTo>
                  <a:pt x="8970841" y="610900"/>
                  <a:pt x="9002734" y="607919"/>
                  <a:pt x="9035120" y="607392"/>
                </a:cubicBezTo>
                <a:close/>
                <a:moveTo>
                  <a:pt x="7382807" y="605769"/>
                </a:moveTo>
                <a:lnTo>
                  <a:pt x="7399895" y="607392"/>
                </a:lnTo>
                <a:cubicBezTo>
                  <a:pt x="7432280" y="607919"/>
                  <a:pt x="7464173" y="610900"/>
                  <a:pt x="7495356" y="616457"/>
                </a:cubicBezTo>
                <a:cubicBezTo>
                  <a:pt x="7500932" y="616038"/>
                  <a:pt x="7506260" y="616986"/>
                  <a:pt x="7511569" y="617996"/>
                </a:cubicBezTo>
                <a:lnTo>
                  <a:pt x="7511686" y="619144"/>
                </a:lnTo>
                <a:cubicBezTo>
                  <a:pt x="7870536" y="678542"/>
                  <a:pt x="8151575" y="959319"/>
                  <a:pt x="8201852" y="1312185"/>
                </a:cubicBezTo>
                <a:cubicBezTo>
                  <a:pt x="8202019" y="1312238"/>
                  <a:pt x="8202189" y="1312243"/>
                  <a:pt x="8202357" y="1312248"/>
                </a:cubicBezTo>
                <a:lnTo>
                  <a:pt x="8202898" y="1318938"/>
                </a:lnTo>
                <a:cubicBezTo>
                  <a:pt x="8207954" y="1349182"/>
                  <a:pt x="8210404" y="1380067"/>
                  <a:pt x="8210362" y="1411395"/>
                </a:cubicBezTo>
                <a:cubicBezTo>
                  <a:pt x="8211674" y="1417025"/>
                  <a:pt x="8211732" y="1422694"/>
                  <a:pt x="8211732" y="1428376"/>
                </a:cubicBezTo>
                <a:cubicBezTo>
                  <a:pt x="8211732" y="1432198"/>
                  <a:pt x="8211705" y="1436014"/>
                  <a:pt x="8211139" y="1439816"/>
                </a:cubicBezTo>
                <a:lnTo>
                  <a:pt x="8210640" y="1439783"/>
                </a:lnTo>
                <a:lnTo>
                  <a:pt x="8210614" y="1440278"/>
                </a:lnTo>
                <a:lnTo>
                  <a:pt x="8193496" y="1438652"/>
                </a:lnTo>
                <a:cubicBezTo>
                  <a:pt x="8161122" y="1438125"/>
                  <a:pt x="8129241" y="1435144"/>
                  <a:pt x="8098069" y="1429590"/>
                </a:cubicBezTo>
                <a:cubicBezTo>
                  <a:pt x="8092492" y="1430009"/>
                  <a:pt x="8087163" y="1429061"/>
                  <a:pt x="8081853" y="1428050"/>
                </a:cubicBezTo>
                <a:lnTo>
                  <a:pt x="8081737" y="1426902"/>
                </a:lnTo>
                <a:cubicBezTo>
                  <a:pt x="7722885" y="1367503"/>
                  <a:pt x="7441846" y="1086726"/>
                  <a:pt x="7391571" y="733861"/>
                </a:cubicBezTo>
                <a:cubicBezTo>
                  <a:pt x="7391403" y="733808"/>
                  <a:pt x="7391235" y="733803"/>
                  <a:pt x="7391065" y="733798"/>
                </a:cubicBezTo>
                <a:lnTo>
                  <a:pt x="7390527" y="727122"/>
                </a:lnTo>
                <a:cubicBezTo>
                  <a:pt x="7385468" y="696872"/>
                  <a:pt x="7383018" y="665981"/>
                  <a:pt x="7383060" y="634646"/>
                </a:cubicBezTo>
                <a:cubicBezTo>
                  <a:pt x="7381748" y="629018"/>
                  <a:pt x="7381689" y="623351"/>
                  <a:pt x="7381689" y="617670"/>
                </a:cubicBezTo>
                <a:lnTo>
                  <a:pt x="7382283" y="606230"/>
                </a:lnTo>
                <a:lnTo>
                  <a:pt x="7382781" y="606263"/>
                </a:lnTo>
                <a:close/>
                <a:moveTo>
                  <a:pt x="5690656" y="605769"/>
                </a:moveTo>
                <a:lnTo>
                  <a:pt x="5707743" y="607392"/>
                </a:lnTo>
                <a:cubicBezTo>
                  <a:pt x="5740129" y="607919"/>
                  <a:pt x="5772021" y="610900"/>
                  <a:pt x="5803205" y="616457"/>
                </a:cubicBezTo>
                <a:cubicBezTo>
                  <a:pt x="5808781" y="616038"/>
                  <a:pt x="5814109" y="616986"/>
                  <a:pt x="5819417" y="617996"/>
                </a:cubicBezTo>
                <a:lnTo>
                  <a:pt x="5819534" y="619144"/>
                </a:lnTo>
                <a:cubicBezTo>
                  <a:pt x="6178385" y="678542"/>
                  <a:pt x="6459424" y="959319"/>
                  <a:pt x="6509700" y="1312185"/>
                </a:cubicBezTo>
                <a:cubicBezTo>
                  <a:pt x="6509868" y="1312238"/>
                  <a:pt x="6510037" y="1312243"/>
                  <a:pt x="6510206" y="1312248"/>
                </a:cubicBezTo>
                <a:lnTo>
                  <a:pt x="6510746" y="1318938"/>
                </a:lnTo>
                <a:cubicBezTo>
                  <a:pt x="6515803" y="1349182"/>
                  <a:pt x="6518252" y="1380067"/>
                  <a:pt x="6518210" y="1411395"/>
                </a:cubicBezTo>
                <a:cubicBezTo>
                  <a:pt x="6519522" y="1417025"/>
                  <a:pt x="6519581" y="1422694"/>
                  <a:pt x="6519581" y="1428376"/>
                </a:cubicBezTo>
                <a:cubicBezTo>
                  <a:pt x="6519581" y="1432198"/>
                  <a:pt x="6519554" y="1436014"/>
                  <a:pt x="6518988" y="1439816"/>
                </a:cubicBezTo>
                <a:lnTo>
                  <a:pt x="6518489" y="1439783"/>
                </a:lnTo>
                <a:lnTo>
                  <a:pt x="6518463" y="1440278"/>
                </a:lnTo>
                <a:lnTo>
                  <a:pt x="6501344" y="1438652"/>
                </a:lnTo>
                <a:cubicBezTo>
                  <a:pt x="6468970" y="1438125"/>
                  <a:pt x="6437090" y="1435144"/>
                  <a:pt x="6405918" y="1429590"/>
                </a:cubicBezTo>
                <a:cubicBezTo>
                  <a:pt x="6400341" y="1430009"/>
                  <a:pt x="6395012" y="1429061"/>
                  <a:pt x="6389701" y="1428050"/>
                </a:cubicBezTo>
                <a:lnTo>
                  <a:pt x="6389585" y="1426902"/>
                </a:lnTo>
                <a:cubicBezTo>
                  <a:pt x="6030734" y="1367503"/>
                  <a:pt x="5749695" y="1086726"/>
                  <a:pt x="5699419" y="733861"/>
                </a:cubicBezTo>
                <a:cubicBezTo>
                  <a:pt x="5699252" y="733808"/>
                  <a:pt x="5699083" y="733803"/>
                  <a:pt x="5698914" y="733798"/>
                </a:cubicBezTo>
                <a:lnTo>
                  <a:pt x="5698375" y="727122"/>
                </a:lnTo>
                <a:cubicBezTo>
                  <a:pt x="5693317" y="696872"/>
                  <a:pt x="5690866" y="665981"/>
                  <a:pt x="5690908" y="634646"/>
                </a:cubicBezTo>
                <a:cubicBezTo>
                  <a:pt x="5689596" y="629018"/>
                  <a:pt x="5689538" y="623351"/>
                  <a:pt x="5689538" y="617670"/>
                </a:cubicBezTo>
                <a:lnTo>
                  <a:pt x="5690132" y="606230"/>
                </a:lnTo>
                <a:lnTo>
                  <a:pt x="5690630" y="606263"/>
                </a:lnTo>
                <a:close/>
                <a:moveTo>
                  <a:pt x="5667905" y="605769"/>
                </a:moveTo>
                <a:lnTo>
                  <a:pt x="5667931" y="606263"/>
                </a:lnTo>
                <a:lnTo>
                  <a:pt x="5668429" y="606230"/>
                </a:lnTo>
                <a:lnTo>
                  <a:pt x="5669023" y="617670"/>
                </a:lnTo>
                <a:cubicBezTo>
                  <a:pt x="5669023" y="623351"/>
                  <a:pt x="5668964" y="629018"/>
                  <a:pt x="5667652" y="634646"/>
                </a:cubicBezTo>
                <a:cubicBezTo>
                  <a:pt x="5667694" y="665981"/>
                  <a:pt x="5665244" y="696872"/>
                  <a:pt x="5660185" y="727122"/>
                </a:cubicBezTo>
                <a:lnTo>
                  <a:pt x="5659647" y="733798"/>
                </a:lnTo>
                <a:cubicBezTo>
                  <a:pt x="5659477" y="733803"/>
                  <a:pt x="5659309" y="733808"/>
                  <a:pt x="5659141" y="733861"/>
                </a:cubicBezTo>
                <a:cubicBezTo>
                  <a:pt x="5608866" y="1086726"/>
                  <a:pt x="5327827" y="1367503"/>
                  <a:pt x="4968975" y="1426902"/>
                </a:cubicBezTo>
                <a:lnTo>
                  <a:pt x="4968859" y="1428050"/>
                </a:lnTo>
                <a:cubicBezTo>
                  <a:pt x="4963549" y="1429061"/>
                  <a:pt x="4958220" y="1430009"/>
                  <a:pt x="4952643" y="1429590"/>
                </a:cubicBezTo>
                <a:cubicBezTo>
                  <a:pt x="4921471" y="1435144"/>
                  <a:pt x="4889590" y="1438125"/>
                  <a:pt x="4857216" y="1438652"/>
                </a:cubicBezTo>
                <a:lnTo>
                  <a:pt x="4840098" y="1440278"/>
                </a:lnTo>
                <a:lnTo>
                  <a:pt x="4840072" y="1439783"/>
                </a:lnTo>
                <a:lnTo>
                  <a:pt x="4839573" y="1439816"/>
                </a:lnTo>
                <a:cubicBezTo>
                  <a:pt x="4839007" y="1436014"/>
                  <a:pt x="4838980" y="1432198"/>
                  <a:pt x="4838980" y="1428376"/>
                </a:cubicBezTo>
                <a:cubicBezTo>
                  <a:pt x="4838980" y="1422694"/>
                  <a:pt x="4839038" y="1417025"/>
                  <a:pt x="4840350" y="1411395"/>
                </a:cubicBezTo>
                <a:cubicBezTo>
                  <a:pt x="4840308" y="1380067"/>
                  <a:pt x="4842758" y="1349182"/>
                  <a:pt x="4847814" y="1318938"/>
                </a:cubicBezTo>
                <a:lnTo>
                  <a:pt x="4848355" y="1312248"/>
                </a:lnTo>
                <a:cubicBezTo>
                  <a:pt x="4848523" y="1312243"/>
                  <a:pt x="4848693" y="1312238"/>
                  <a:pt x="4848860" y="1312185"/>
                </a:cubicBezTo>
                <a:cubicBezTo>
                  <a:pt x="4899137" y="959319"/>
                  <a:pt x="5180176" y="678542"/>
                  <a:pt x="5539026" y="619144"/>
                </a:cubicBezTo>
                <a:lnTo>
                  <a:pt x="5539143" y="617996"/>
                </a:lnTo>
                <a:cubicBezTo>
                  <a:pt x="5544452" y="616986"/>
                  <a:pt x="5549780" y="616038"/>
                  <a:pt x="5555356" y="616457"/>
                </a:cubicBezTo>
                <a:cubicBezTo>
                  <a:pt x="5586539" y="610900"/>
                  <a:pt x="5618432" y="607919"/>
                  <a:pt x="5650817" y="607392"/>
                </a:cubicBezTo>
                <a:close/>
                <a:moveTo>
                  <a:pt x="3998505" y="605769"/>
                </a:moveTo>
                <a:lnTo>
                  <a:pt x="4015592" y="607392"/>
                </a:lnTo>
                <a:cubicBezTo>
                  <a:pt x="4047978" y="607919"/>
                  <a:pt x="4079870" y="610900"/>
                  <a:pt x="4111054" y="616457"/>
                </a:cubicBezTo>
                <a:cubicBezTo>
                  <a:pt x="4116630" y="616038"/>
                  <a:pt x="4121958" y="616986"/>
                  <a:pt x="4127266" y="617996"/>
                </a:cubicBezTo>
                <a:lnTo>
                  <a:pt x="4127384" y="619144"/>
                </a:lnTo>
                <a:cubicBezTo>
                  <a:pt x="4486234" y="678542"/>
                  <a:pt x="4767273" y="959319"/>
                  <a:pt x="4817549" y="1312185"/>
                </a:cubicBezTo>
                <a:cubicBezTo>
                  <a:pt x="4817717" y="1312238"/>
                  <a:pt x="4817886" y="1312243"/>
                  <a:pt x="4818055" y="1312248"/>
                </a:cubicBezTo>
                <a:lnTo>
                  <a:pt x="4818595" y="1318938"/>
                </a:lnTo>
                <a:cubicBezTo>
                  <a:pt x="4823652" y="1349182"/>
                  <a:pt x="4826101" y="1380067"/>
                  <a:pt x="4826059" y="1411395"/>
                </a:cubicBezTo>
                <a:cubicBezTo>
                  <a:pt x="4827371" y="1417025"/>
                  <a:pt x="4827430" y="1422694"/>
                  <a:pt x="4827430" y="1428376"/>
                </a:cubicBezTo>
                <a:cubicBezTo>
                  <a:pt x="4827430" y="1432198"/>
                  <a:pt x="4827403" y="1436014"/>
                  <a:pt x="4826837" y="1439816"/>
                </a:cubicBezTo>
                <a:lnTo>
                  <a:pt x="4826338" y="1439783"/>
                </a:lnTo>
                <a:lnTo>
                  <a:pt x="4826312" y="1440278"/>
                </a:lnTo>
                <a:lnTo>
                  <a:pt x="4809193" y="1438652"/>
                </a:lnTo>
                <a:cubicBezTo>
                  <a:pt x="4776819" y="1438125"/>
                  <a:pt x="4744939" y="1435144"/>
                  <a:pt x="4713767" y="1429590"/>
                </a:cubicBezTo>
                <a:cubicBezTo>
                  <a:pt x="4708190" y="1430009"/>
                  <a:pt x="4702861" y="1429061"/>
                  <a:pt x="4697550" y="1428050"/>
                </a:cubicBezTo>
                <a:lnTo>
                  <a:pt x="4697434" y="1426902"/>
                </a:lnTo>
                <a:cubicBezTo>
                  <a:pt x="4338583" y="1367503"/>
                  <a:pt x="4057544" y="1086726"/>
                  <a:pt x="4007268" y="733861"/>
                </a:cubicBezTo>
                <a:cubicBezTo>
                  <a:pt x="4007101" y="733808"/>
                  <a:pt x="4006932" y="733803"/>
                  <a:pt x="4006763" y="733798"/>
                </a:cubicBezTo>
                <a:lnTo>
                  <a:pt x="4006225" y="727122"/>
                </a:lnTo>
                <a:cubicBezTo>
                  <a:pt x="4001166" y="696872"/>
                  <a:pt x="3998715" y="665981"/>
                  <a:pt x="3998757" y="634646"/>
                </a:cubicBezTo>
                <a:cubicBezTo>
                  <a:pt x="3997445" y="629018"/>
                  <a:pt x="3997387" y="623351"/>
                  <a:pt x="3997387" y="617670"/>
                </a:cubicBezTo>
                <a:lnTo>
                  <a:pt x="3997981" y="606230"/>
                </a:lnTo>
                <a:lnTo>
                  <a:pt x="3998479" y="606263"/>
                </a:lnTo>
                <a:close/>
                <a:moveTo>
                  <a:pt x="3975754" y="605769"/>
                </a:moveTo>
                <a:lnTo>
                  <a:pt x="3975780" y="606263"/>
                </a:lnTo>
                <a:lnTo>
                  <a:pt x="3976278" y="606230"/>
                </a:lnTo>
                <a:lnTo>
                  <a:pt x="3976872" y="617670"/>
                </a:lnTo>
                <a:cubicBezTo>
                  <a:pt x="3976872" y="623351"/>
                  <a:pt x="3976813" y="629018"/>
                  <a:pt x="3975501" y="634646"/>
                </a:cubicBezTo>
                <a:cubicBezTo>
                  <a:pt x="3975543" y="665981"/>
                  <a:pt x="3973093" y="696872"/>
                  <a:pt x="3968034" y="727122"/>
                </a:cubicBezTo>
                <a:lnTo>
                  <a:pt x="3967496" y="733798"/>
                </a:lnTo>
                <a:cubicBezTo>
                  <a:pt x="3967326" y="733803"/>
                  <a:pt x="3967158" y="733808"/>
                  <a:pt x="3966990" y="733861"/>
                </a:cubicBezTo>
                <a:cubicBezTo>
                  <a:pt x="3916715" y="1086726"/>
                  <a:pt x="3635676" y="1367503"/>
                  <a:pt x="3276825" y="1426902"/>
                </a:cubicBezTo>
                <a:lnTo>
                  <a:pt x="3276708" y="1428050"/>
                </a:lnTo>
                <a:cubicBezTo>
                  <a:pt x="3271398" y="1429061"/>
                  <a:pt x="3266069" y="1430009"/>
                  <a:pt x="3260492" y="1429590"/>
                </a:cubicBezTo>
                <a:cubicBezTo>
                  <a:pt x="3229320" y="1435144"/>
                  <a:pt x="3197440" y="1438125"/>
                  <a:pt x="3165065" y="1438652"/>
                </a:cubicBezTo>
                <a:lnTo>
                  <a:pt x="3147947" y="1440278"/>
                </a:lnTo>
                <a:lnTo>
                  <a:pt x="3147921" y="1439783"/>
                </a:lnTo>
                <a:lnTo>
                  <a:pt x="3147422" y="1439816"/>
                </a:lnTo>
                <a:cubicBezTo>
                  <a:pt x="3146856" y="1436014"/>
                  <a:pt x="3146829" y="1432198"/>
                  <a:pt x="3146829" y="1428376"/>
                </a:cubicBezTo>
                <a:cubicBezTo>
                  <a:pt x="3146829" y="1422694"/>
                  <a:pt x="3146887" y="1417025"/>
                  <a:pt x="3148199" y="1411395"/>
                </a:cubicBezTo>
                <a:cubicBezTo>
                  <a:pt x="3148157" y="1380067"/>
                  <a:pt x="3150607" y="1349182"/>
                  <a:pt x="3155663" y="1318938"/>
                </a:cubicBezTo>
                <a:lnTo>
                  <a:pt x="3156204" y="1312248"/>
                </a:lnTo>
                <a:cubicBezTo>
                  <a:pt x="3156372" y="1312243"/>
                  <a:pt x="3156542" y="1312238"/>
                  <a:pt x="3156709" y="1312185"/>
                </a:cubicBezTo>
                <a:cubicBezTo>
                  <a:pt x="3206986" y="959319"/>
                  <a:pt x="3488025" y="678542"/>
                  <a:pt x="3846875" y="619144"/>
                </a:cubicBezTo>
                <a:lnTo>
                  <a:pt x="3846992" y="617996"/>
                </a:lnTo>
                <a:cubicBezTo>
                  <a:pt x="3852301" y="616986"/>
                  <a:pt x="3857629" y="616038"/>
                  <a:pt x="3863205" y="616457"/>
                </a:cubicBezTo>
                <a:cubicBezTo>
                  <a:pt x="3894388" y="610900"/>
                  <a:pt x="3926281" y="607919"/>
                  <a:pt x="3958666" y="607392"/>
                </a:cubicBezTo>
                <a:close/>
                <a:moveTo>
                  <a:pt x="2306354" y="605769"/>
                </a:moveTo>
                <a:lnTo>
                  <a:pt x="2323441" y="607392"/>
                </a:lnTo>
                <a:cubicBezTo>
                  <a:pt x="2355827" y="607919"/>
                  <a:pt x="2387719" y="610900"/>
                  <a:pt x="2418903" y="616457"/>
                </a:cubicBezTo>
                <a:cubicBezTo>
                  <a:pt x="2424479" y="616038"/>
                  <a:pt x="2429807" y="616986"/>
                  <a:pt x="2435115" y="617996"/>
                </a:cubicBezTo>
                <a:lnTo>
                  <a:pt x="2435233" y="619144"/>
                </a:lnTo>
                <a:cubicBezTo>
                  <a:pt x="2794083" y="678542"/>
                  <a:pt x="3075122" y="959319"/>
                  <a:pt x="3125398" y="1312185"/>
                </a:cubicBezTo>
                <a:cubicBezTo>
                  <a:pt x="3125566" y="1312238"/>
                  <a:pt x="3125735" y="1312243"/>
                  <a:pt x="3125904" y="1312248"/>
                </a:cubicBezTo>
                <a:lnTo>
                  <a:pt x="3126444" y="1318938"/>
                </a:lnTo>
                <a:cubicBezTo>
                  <a:pt x="3131501" y="1349182"/>
                  <a:pt x="3133950" y="1380067"/>
                  <a:pt x="3133908" y="1411395"/>
                </a:cubicBezTo>
                <a:cubicBezTo>
                  <a:pt x="3135220" y="1417025"/>
                  <a:pt x="3135279" y="1422694"/>
                  <a:pt x="3135279" y="1428376"/>
                </a:cubicBezTo>
                <a:cubicBezTo>
                  <a:pt x="3135279" y="1432198"/>
                  <a:pt x="3135252" y="1436014"/>
                  <a:pt x="3134686" y="1439816"/>
                </a:cubicBezTo>
                <a:lnTo>
                  <a:pt x="3134187" y="1439783"/>
                </a:lnTo>
                <a:lnTo>
                  <a:pt x="3134161" y="1440278"/>
                </a:lnTo>
                <a:lnTo>
                  <a:pt x="3117042" y="1438652"/>
                </a:lnTo>
                <a:cubicBezTo>
                  <a:pt x="3084668" y="1438125"/>
                  <a:pt x="3052788" y="1435144"/>
                  <a:pt x="3021616" y="1429590"/>
                </a:cubicBezTo>
                <a:cubicBezTo>
                  <a:pt x="3016039" y="1430009"/>
                  <a:pt x="3010710" y="1429061"/>
                  <a:pt x="3005399" y="1428050"/>
                </a:cubicBezTo>
                <a:lnTo>
                  <a:pt x="3005283" y="1426902"/>
                </a:lnTo>
                <a:cubicBezTo>
                  <a:pt x="2646432" y="1367503"/>
                  <a:pt x="2365393" y="1086726"/>
                  <a:pt x="2315117" y="733861"/>
                </a:cubicBezTo>
                <a:cubicBezTo>
                  <a:pt x="2314950" y="733808"/>
                  <a:pt x="2314781" y="733803"/>
                  <a:pt x="2314612" y="733798"/>
                </a:cubicBezTo>
                <a:lnTo>
                  <a:pt x="2314074" y="727122"/>
                </a:lnTo>
                <a:cubicBezTo>
                  <a:pt x="2309015" y="696872"/>
                  <a:pt x="2306564" y="665981"/>
                  <a:pt x="2306606" y="634646"/>
                </a:cubicBezTo>
                <a:cubicBezTo>
                  <a:pt x="2305294" y="629018"/>
                  <a:pt x="2305236" y="623351"/>
                  <a:pt x="2305236" y="617670"/>
                </a:cubicBezTo>
                <a:lnTo>
                  <a:pt x="2305830" y="606230"/>
                </a:lnTo>
                <a:lnTo>
                  <a:pt x="2306328" y="606263"/>
                </a:lnTo>
                <a:close/>
                <a:moveTo>
                  <a:pt x="2283603" y="605769"/>
                </a:moveTo>
                <a:lnTo>
                  <a:pt x="2283629" y="606263"/>
                </a:lnTo>
                <a:lnTo>
                  <a:pt x="2284127" y="606230"/>
                </a:lnTo>
                <a:lnTo>
                  <a:pt x="2284721" y="617670"/>
                </a:lnTo>
                <a:cubicBezTo>
                  <a:pt x="2284721" y="623351"/>
                  <a:pt x="2284662" y="629018"/>
                  <a:pt x="2283350" y="634646"/>
                </a:cubicBezTo>
                <a:cubicBezTo>
                  <a:pt x="2283392" y="665981"/>
                  <a:pt x="2280942" y="696872"/>
                  <a:pt x="2275883" y="727122"/>
                </a:cubicBezTo>
                <a:lnTo>
                  <a:pt x="2275345" y="733798"/>
                </a:lnTo>
                <a:cubicBezTo>
                  <a:pt x="2275175" y="733803"/>
                  <a:pt x="2275007" y="733808"/>
                  <a:pt x="2274839" y="733861"/>
                </a:cubicBezTo>
                <a:cubicBezTo>
                  <a:pt x="2224564" y="1086726"/>
                  <a:pt x="1943525" y="1367503"/>
                  <a:pt x="1584673" y="1426902"/>
                </a:cubicBezTo>
                <a:lnTo>
                  <a:pt x="1584557" y="1428050"/>
                </a:lnTo>
                <a:cubicBezTo>
                  <a:pt x="1579247" y="1429061"/>
                  <a:pt x="1573918" y="1430009"/>
                  <a:pt x="1568341" y="1429590"/>
                </a:cubicBezTo>
                <a:cubicBezTo>
                  <a:pt x="1537169" y="1435144"/>
                  <a:pt x="1505289" y="1438125"/>
                  <a:pt x="1472914" y="1438652"/>
                </a:cubicBezTo>
                <a:lnTo>
                  <a:pt x="1455796" y="1440278"/>
                </a:lnTo>
                <a:lnTo>
                  <a:pt x="1455770" y="1439783"/>
                </a:lnTo>
                <a:lnTo>
                  <a:pt x="1455271" y="1439816"/>
                </a:lnTo>
                <a:cubicBezTo>
                  <a:pt x="1454705" y="1436014"/>
                  <a:pt x="1454678" y="1432198"/>
                  <a:pt x="1454678" y="1428376"/>
                </a:cubicBezTo>
                <a:cubicBezTo>
                  <a:pt x="1454678" y="1422694"/>
                  <a:pt x="1454736" y="1417025"/>
                  <a:pt x="1456048" y="1411395"/>
                </a:cubicBezTo>
                <a:cubicBezTo>
                  <a:pt x="1456006" y="1380067"/>
                  <a:pt x="1458456" y="1349182"/>
                  <a:pt x="1463513" y="1318938"/>
                </a:cubicBezTo>
                <a:lnTo>
                  <a:pt x="1464053" y="1312248"/>
                </a:lnTo>
                <a:cubicBezTo>
                  <a:pt x="1464221" y="1312243"/>
                  <a:pt x="1464391" y="1312238"/>
                  <a:pt x="1464558" y="1312185"/>
                </a:cubicBezTo>
                <a:cubicBezTo>
                  <a:pt x="1514835" y="959319"/>
                  <a:pt x="1795874" y="678542"/>
                  <a:pt x="2154724" y="619144"/>
                </a:cubicBezTo>
                <a:lnTo>
                  <a:pt x="2154841" y="617996"/>
                </a:lnTo>
                <a:cubicBezTo>
                  <a:pt x="2160150" y="616986"/>
                  <a:pt x="2165478" y="616038"/>
                  <a:pt x="2171054" y="616457"/>
                </a:cubicBezTo>
                <a:cubicBezTo>
                  <a:pt x="2202237" y="610900"/>
                  <a:pt x="2234130" y="607919"/>
                  <a:pt x="2266515" y="607392"/>
                </a:cubicBezTo>
                <a:close/>
                <a:moveTo>
                  <a:pt x="614203" y="605769"/>
                </a:moveTo>
                <a:lnTo>
                  <a:pt x="631290" y="607392"/>
                </a:lnTo>
                <a:cubicBezTo>
                  <a:pt x="663676" y="607919"/>
                  <a:pt x="695568" y="610900"/>
                  <a:pt x="726752" y="616457"/>
                </a:cubicBezTo>
                <a:cubicBezTo>
                  <a:pt x="732328" y="616038"/>
                  <a:pt x="737656" y="616986"/>
                  <a:pt x="742964" y="617996"/>
                </a:cubicBezTo>
                <a:lnTo>
                  <a:pt x="743081" y="619144"/>
                </a:lnTo>
                <a:cubicBezTo>
                  <a:pt x="1101932" y="678542"/>
                  <a:pt x="1382971" y="959319"/>
                  <a:pt x="1433247" y="1312185"/>
                </a:cubicBezTo>
                <a:cubicBezTo>
                  <a:pt x="1433415" y="1312238"/>
                  <a:pt x="1433584" y="1312243"/>
                  <a:pt x="1433753" y="1312248"/>
                </a:cubicBezTo>
                <a:lnTo>
                  <a:pt x="1434293" y="1318938"/>
                </a:lnTo>
                <a:cubicBezTo>
                  <a:pt x="1439350" y="1349182"/>
                  <a:pt x="1441799" y="1380067"/>
                  <a:pt x="1441757" y="1411395"/>
                </a:cubicBezTo>
                <a:cubicBezTo>
                  <a:pt x="1443069" y="1417025"/>
                  <a:pt x="1443128" y="1422694"/>
                  <a:pt x="1443128" y="1428376"/>
                </a:cubicBezTo>
                <a:cubicBezTo>
                  <a:pt x="1443128" y="1432198"/>
                  <a:pt x="1443101" y="1436014"/>
                  <a:pt x="1442535" y="1439816"/>
                </a:cubicBezTo>
                <a:lnTo>
                  <a:pt x="1442036" y="1439783"/>
                </a:lnTo>
                <a:lnTo>
                  <a:pt x="1442010" y="1440278"/>
                </a:lnTo>
                <a:lnTo>
                  <a:pt x="1424891" y="1438652"/>
                </a:lnTo>
                <a:cubicBezTo>
                  <a:pt x="1392517" y="1438125"/>
                  <a:pt x="1360637" y="1435144"/>
                  <a:pt x="1329465" y="1429590"/>
                </a:cubicBezTo>
                <a:cubicBezTo>
                  <a:pt x="1323888" y="1430009"/>
                  <a:pt x="1318559" y="1429061"/>
                  <a:pt x="1313248" y="1428050"/>
                </a:cubicBezTo>
                <a:lnTo>
                  <a:pt x="1313132" y="1426902"/>
                </a:lnTo>
                <a:cubicBezTo>
                  <a:pt x="954281" y="1367503"/>
                  <a:pt x="673242" y="1086726"/>
                  <a:pt x="622966" y="733861"/>
                </a:cubicBezTo>
                <a:cubicBezTo>
                  <a:pt x="622799" y="733808"/>
                  <a:pt x="622630" y="733803"/>
                  <a:pt x="622461" y="733798"/>
                </a:cubicBezTo>
                <a:lnTo>
                  <a:pt x="621923" y="727122"/>
                </a:lnTo>
                <a:cubicBezTo>
                  <a:pt x="616864" y="696872"/>
                  <a:pt x="614413" y="665981"/>
                  <a:pt x="614455" y="634646"/>
                </a:cubicBezTo>
                <a:cubicBezTo>
                  <a:pt x="613143" y="629018"/>
                  <a:pt x="613085" y="623351"/>
                  <a:pt x="613085" y="617670"/>
                </a:cubicBezTo>
                <a:lnTo>
                  <a:pt x="613679" y="606230"/>
                </a:lnTo>
                <a:lnTo>
                  <a:pt x="614177" y="606263"/>
                </a:lnTo>
                <a:close/>
                <a:moveTo>
                  <a:pt x="7360056" y="605769"/>
                </a:moveTo>
                <a:lnTo>
                  <a:pt x="7360082" y="606263"/>
                </a:lnTo>
                <a:lnTo>
                  <a:pt x="7360580" y="606230"/>
                </a:lnTo>
                <a:lnTo>
                  <a:pt x="7361174" y="617670"/>
                </a:lnTo>
                <a:cubicBezTo>
                  <a:pt x="7361174" y="623351"/>
                  <a:pt x="7361116" y="629018"/>
                  <a:pt x="7359804" y="634646"/>
                </a:cubicBezTo>
                <a:cubicBezTo>
                  <a:pt x="7359846" y="665981"/>
                  <a:pt x="7357395" y="696872"/>
                  <a:pt x="7352337" y="727122"/>
                </a:cubicBezTo>
                <a:lnTo>
                  <a:pt x="7351798" y="733798"/>
                </a:lnTo>
                <a:cubicBezTo>
                  <a:pt x="7351629" y="733803"/>
                  <a:pt x="7351460" y="733808"/>
                  <a:pt x="7351293" y="733861"/>
                </a:cubicBezTo>
                <a:cubicBezTo>
                  <a:pt x="7301017" y="1086726"/>
                  <a:pt x="7019978" y="1367503"/>
                  <a:pt x="6661127" y="1426902"/>
                </a:cubicBezTo>
                <a:lnTo>
                  <a:pt x="6661011" y="1428050"/>
                </a:lnTo>
                <a:cubicBezTo>
                  <a:pt x="6655700" y="1429061"/>
                  <a:pt x="6650371" y="1430009"/>
                  <a:pt x="6644794" y="1429590"/>
                </a:cubicBezTo>
                <a:cubicBezTo>
                  <a:pt x="6613622" y="1435144"/>
                  <a:pt x="6581742" y="1438125"/>
                  <a:pt x="6549368" y="1438652"/>
                </a:cubicBezTo>
                <a:lnTo>
                  <a:pt x="6532249" y="1440278"/>
                </a:lnTo>
                <a:lnTo>
                  <a:pt x="6532223" y="1439783"/>
                </a:lnTo>
                <a:lnTo>
                  <a:pt x="6531724" y="1439816"/>
                </a:lnTo>
                <a:cubicBezTo>
                  <a:pt x="6531158" y="1436014"/>
                  <a:pt x="6531131" y="1432198"/>
                  <a:pt x="6531131" y="1428376"/>
                </a:cubicBezTo>
                <a:cubicBezTo>
                  <a:pt x="6531131" y="1422694"/>
                  <a:pt x="6531190" y="1417025"/>
                  <a:pt x="6532502" y="1411395"/>
                </a:cubicBezTo>
                <a:cubicBezTo>
                  <a:pt x="6532460" y="1380067"/>
                  <a:pt x="6534909" y="1349182"/>
                  <a:pt x="6539966" y="1318938"/>
                </a:cubicBezTo>
                <a:lnTo>
                  <a:pt x="6540506" y="1312248"/>
                </a:lnTo>
                <a:cubicBezTo>
                  <a:pt x="6540675" y="1312243"/>
                  <a:pt x="6540844" y="1312238"/>
                  <a:pt x="6541012" y="1312185"/>
                </a:cubicBezTo>
                <a:cubicBezTo>
                  <a:pt x="6591288" y="959319"/>
                  <a:pt x="6872327" y="678542"/>
                  <a:pt x="7231178" y="619144"/>
                </a:cubicBezTo>
                <a:lnTo>
                  <a:pt x="7231295" y="617996"/>
                </a:lnTo>
                <a:cubicBezTo>
                  <a:pt x="7236603" y="616986"/>
                  <a:pt x="7241931" y="616038"/>
                  <a:pt x="7247507" y="616457"/>
                </a:cubicBezTo>
                <a:cubicBezTo>
                  <a:pt x="7278691" y="610900"/>
                  <a:pt x="7310583" y="607919"/>
                  <a:pt x="7342969" y="607392"/>
                </a:cubicBezTo>
                <a:close/>
                <a:moveTo>
                  <a:pt x="591452" y="605769"/>
                </a:moveTo>
                <a:lnTo>
                  <a:pt x="591478" y="606263"/>
                </a:lnTo>
                <a:lnTo>
                  <a:pt x="591976" y="606230"/>
                </a:lnTo>
                <a:lnTo>
                  <a:pt x="592570" y="617670"/>
                </a:lnTo>
                <a:cubicBezTo>
                  <a:pt x="592570" y="623351"/>
                  <a:pt x="592511" y="629018"/>
                  <a:pt x="591199" y="634646"/>
                </a:cubicBezTo>
                <a:cubicBezTo>
                  <a:pt x="591242" y="665981"/>
                  <a:pt x="588791" y="696872"/>
                  <a:pt x="583732" y="727122"/>
                </a:cubicBezTo>
                <a:lnTo>
                  <a:pt x="583194" y="733798"/>
                </a:lnTo>
                <a:cubicBezTo>
                  <a:pt x="583024" y="733803"/>
                  <a:pt x="582856" y="733808"/>
                  <a:pt x="582689" y="733861"/>
                </a:cubicBezTo>
                <a:cubicBezTo>
                  <a:pt x="537576" y="1050490"/>
                  <a:pt x="306662" y="1309076"/>
                  <a:pt x="0" y="1400276"/>
                </a:cubicBezTo>
                <a:lnTo>
                  <a:pt x="0" y="1267938"/>
                </a:lnTo>
                <a:cubicBezTo>
                  <a:pt x="229298" y="1185101"/>
                  <a:pt x="402181" y="989705"/>
                  <a:pt x="449203" y="750600"/>
                </a:cubicBezTo>
                <a:cubicBezTo>
                  <a:pt x="258971" y="791484"/>
                  <a:pt x="97576" y="906749"/>
                  <a:pt x="0" y="1064489"/>
                </a:cubicBezTo>
                <a:lnTo>
                  <a:pt x="0" y="857695"/>
                </a:lnTo>
                <a:cubicBezTo>
                  <a:pt x="121484" y="734788"/>
                  <a:pt x="282199" y="649000"/>
                  <a:pt x="462573" y="619144"/>
                </a:cubicBezTo>
                <a:lnTo>
                  <a:pt x="462690" y="617996"/>
                </a:lnTo>
                <a:cubicBezTo>
                  <a:pt x="467999" y="616986"/>
                  <a:pt x="473327" y="616038"/>
                  <a:pt x="478903" y="616457"/>
                </a:cubicBezTo>
                <a:cubicBezTo>
                  <a:pt x="510086" y="610900"/>
                  <a:pt x="541979" y="607919"/>
                  <a:pt x="574365" y="607392"/>
                </a:cubicBezTo>
                <a:close/>
                <a:moveTo>
                  <a:pt x="11969013" y="0"/>
                </a:moveTo>
                <a:lnTo>
                  <a:pt x="12180097" y="0"/>
                </a:lnTo>
                <a:cubicBezTo>
                  <a:pt x="12184579" y="2797"/>
                  <a:pt x="12188307" y="6390"/>
                  <a:pt x="12192000" y="10016"/>
                </a:cubicBezTo>
                <a:lnTo>
                  <a:pt x="12192000" y="210008"/>
                </a:lnTo>
                <a:cubicBezTo>
                  <a:pt x="12135666" y="124006"/>
                  <a:pt x="12059786" y="51396"/>
                  <a:pt x="11969013" y="0"/>
                </a:cubicBezTo>
                <a:close/>
                <a:moveTo>
                  <a:pt x="11640695" y="0"/>
                </a:moveTo>
                <a:lnTo>
                  <a:pt x="11775234" y="0"/>
                </a:lnTo>
                <a:cubicBezTo>
                  <a:pt x="11842228" y="193636"/>
                  <a:pt x="11995970" y="348667"/>
                  <a:pt x="12192000" y="421829"/>
                </a:cubicBezTo>
                <a:lnTo>
                  <a:pt x="12192000" y="553832"/>
                </a:lnTo>
                <a:cubicBezTo>
                  <a:pt x="11924422" y="471599"/>
                  <a:pt x="11715712" y="262771"/>
                  <a:pt x="11640695" y="0"/>
                </a:cubicBezTo>
                <a:close/>
                <a:moveTo>
                  <a:pt x="11023379" y="0"/>
                </a:moveTo>
                <a:lnTo>
                  <a:pt x="11232088" y="0"/>
                </a:lnTo>
                <a:cubicBezTo>
                  <a:pt x="11066618" y="98005"/>
                  <a:pt x="10947209" y="260867"/>
                  <a:pt x="10909358" y="451830"/>
                </a:cubicBezTo>
                <a:cubicBezTo>
                  <a:pt x="11153410" y="399791"/>
                  <a:pt x="11350000" y="226290"/>
                  <a:pt x="11427896" y="0"/>
                </a:cubicBezTo>
                <a:lnTo>
                  <a:pt x="11561912" y="0"/>
                </a:lnTo>
                <a:cubicBezTo>
                  <a:pt x="11477134" y="299826"/>
                  <a:pt x="11217862" y="529393"/>
                  <a:pt x="10895987" y="582253"/>
                </a:cubicBezTo>
                <a:lnTo>
                  <a:pt x="10895871" y="583392"/>
                </a:lnTo>
                <a:cubicBezTo>
                  <a:pt x="10890560" y="584395"/>
                  <a:pt x="10885231" y="585336"/>
                  <a:pt x="10879654" y="584920"/>
                </a:cubicBezTo>
                <a:cubicBezTo>
                  <a:pt x="10848482" y="590430"/>
                  <a:pt x="10816602" y="593388"/>
                  <a:pt x="10784227" y="593911"/>
                </a:cubicBezTo>
                <a:lnTo>
                  <a:pt x="10767109" y="595524"/>
                </a:lnTo>
                <a:lnTo>
                  <a:pt x="10767083" y="595033"/>
                </a:lnTo>
                <a:lnTo>
                  <a:pt x="10766584" y="595066"/>
                </a:lnTo>
                <a:cubicBezTo>
                  <a:pt x="10766018" y="591293"/>
                  <a:pt x="10765991" y="587507"/>
                  <a:pt x="10765991" y="583715"/>
                </a:cubicBezTo>
                <a:cubicBezTo>
                  <a:pt x="10765991" y="578078"/>
                  <a:pt x="10766050" y="572454"/>
                  <a:pt x="10767362" y="566868"/>
                </a:cubicBezTo>
                <a:cubicBezTo>
                  <a:pt x="10767319" y="535786"/>
                  <a:pt x="10769769" y="505143"/>
                  <a:pt x="10774826" y="475137"/>
                </a:cubicBezTo>
                <a:lnTo>
                  <a:pt x="10775366" y="468500"/>
                </a:lnTo>
                <a:cubicBezTo>
                  <a:pt x="10775535" y="468495"/>
                  <a:pt x="10775704" y="468490"/>
                  <a:pt x="10775872" y="468437"/>
                </a:cubicBezTo>
                <a:cubicBezTo>
                  <a:pt x="10802174" y="285283"/>
                  <a:pt x="10891635" y="121704"/>
                  <a:pt x="11023379" y="0"/>
                </a:cubicBezTo>
                <a:close/>
                <a:moveTo>
                  <a:pt x="9949555" y="0"/>
                </a:moveTo>
                <a:lnTo>
                  <a:pt x="10083571" y="0"/>
                </a:lnTo>
                <a:cubicBezTo>
                  <a:pt x="10161467" y="226290"/>
                  <a:pt x="10358057" y="399791"/>
                  <a:pt x="10602109" y="451830"/>
                </a:cubicBezTo>
                <a:cubicBezTo>
                  <a:pt x="10564258" y="260867"/>
                  <a:pt x="10444849" y="98005"/>
                  <a:pt x="10279379" y="0"/>
                </a:cubicBezTo>
                <a:lnTo>
                  <a:pt x="10488089" y="0"/>
                </a:lnTo>
                <a:cubicBezTo>
                  <a:pt x="10619833" y="121704"/>
                  <a:pt x="10709293" y="285283"/>
                  <a:pt x="10735596" y="468437"/>
                </a:cubicBezTo>
                <a:cubicBezTo>
                  <a:pt x="10735763" y="468490"/>
                  <a:pt x="10735932" y="468495"/>
                  <a:pt x="10736101" y="468500"/>
                </a:cubicBezTo>
                <a:lnTo>
                  <a:pt x="10736641" y="475137"/>
                </a:lnTo>
                <a:cubicBezTo>
                  <a:pt x="10741698" y="505143"/>
                  <a:pt x="10744148" y="535786"/>
                  <a:pt x="10744105" y="566868"/>
                </a:cubicBezTo>
                <a:cubicBezTo>
                  <a:pt x="10745417" y="572454"/>
                  <a:pt x="10745476" y="578078"/>
                  <a:pt x="10745476" y="583715"/>
                </a:cubicBezTo>
                <a:cubicBezTo>
                  <a:pt x="10745476" y="587507"/>
                  <a:pt x="10745449" y="591293"/>
                  <a:pt x="10744883" y="595066"/>
                </a:cubicBezTo>
                <a:lnTo>
                  <a:pt x="10744384" y="595033"/>
                </a:lnTo>
                <a:lnTo>
                  <a:pt x="10744358" y="595524"/>
                </a:lnTo>
                <a:lnTo>
                  <a:pt x="10727240" y="593911"/>
                </a:lnTo>
                <a:cubicBezTo>
                  <a:pt x="10694865" y="593388"/>
                  <a:pt x="10662985" y="590430"/>
                  <a:pt x="10631813" y="584920"/>
                </a:cubicBezTo>
                <a:cubicBezTo>
                  <a:pt x="10626236" y="585336"/>
                  <a:pt x="10620907" y="584395"/>
                  <a:pt x="10615596" y="583392"/>
                </a:cubicBezTo>
                <a:lnTo>
                  <a:pt x="10615480" y="582253"/>
                </a:lnTo>
                <a:cubicBezTo>
                  <a:pt x="10293605" y="529393"/>
                  <a:pt x="10034333" y="299826"/>
                  <a:pt x="9949555" y="0"/>
                </a:cubicBezTo>
                <a:close/>
                <a:moveTo>
                  <a:pt x="9331225" y="0"/>
                </a:moveTo>
                <a:lnTo>
                  <a:pt x="9539935" y="0"/>
                </a:lnTo>
                <a:cubicBezTo>
                  <a:pt x="9374465" y="98005"/>
                  <a:pt x="9255056" y="260867"/>
                  <a:pt x="9217205" y="451830"/>
                </a:cubicBezTo>
                <a:cubicBezTo>
                  <a:pt x="9461257" y="399791"/>
                  <a:pt x="9657847" y="226290"/>
                  <a:pt x="9735743" y="0"/>
                </a:cubicBezTo>
                <a:lnTo>
                  <a:pt x="9869759" y="0"/>
                </a:lnTo>
                <a:cubicBezTo>
                  <a:pt x="9784981" y="299826"/>
                  <a:pt x="9525709" y="529393"/>
                  <a:pt x="9203834" y="582253"/>
                </a:cubicBezTo>
                <a:lnTo>
                  <a:pt x="9203718" y="583392"/>
                </a:lnTo>
                <a:cubicBezTo>
                  <a:pt x="9198407" y="584395"/>
                  <a:pt x="9193078" y="585336"/>
                  <a:pt x="9187501" y="584920"/>
                </a:cubicBezTo>
                <a:cubicBezTo>
                  <a:pt x="9156329" y="590430"/>
                  <a:pt x="9124449" y="593388"/>
                  <a:pt x="9092074" y="593911"/>
                </a:cubicBezTo>
                <a:lnTo>
                  <a:pt x="9074956" y="595524"/>
                </a:lnTo>
                <a:lnTo>
                  <a:pt x="9074930" y="595033"/>
                </a:lnTo>
                <a:lnTo>
                  <a:pt x="9074431" y="595066"/>
                </a:lnTo>
                <a:cubicBezTo>
                  <a:pt x="9073865" y="591293"/>
                  <a:pt x="9073838" y="587507"/>
                  <a:pt x="9073838" y="583715"/>
                </a:cubicBezTo>
                <a:cubicBezTo>
                  <a:pt x="9073838" y="578078"/>
                  <a:pt x="9073897" y="572454"/>
                  <a:pt x="9075209" y="566868"/>
                </a:cubicBezTo>
                <a:cubicBezTo>
                  <a:pt x="9075166" y="535786"/>
                  <a:pt x="9077616" y="505143"/>
                  <a:pt x="9082673" y="475137"/>
                </a:cubicBezTo>
                <a:lnTo>
                  <a:pt x="9083213" y="468500"/>
                </a:lnTo>
                <a:cubicBezTo>
                  <a:pt x="9083382" y="468495"/>
                  <a:pt x="9083551" y="468490"/>
                  <a:pt x="9083718" y="468437"/>
                </a:cubicBezTo>
                <a:cubicBezTo>
                  <a:pt x="9110021" y="285283"/>
                  <a:pt x="9199481" y="121704"/>
                  <a:pt x="9331225" y="0"/>
                </a:cubicBezTo>
                <a:close/>
                <a:moveTo>
                  <a:pt x="8257405" y="0"/>
                </a:moveTo>
                <a:lnTo>
                  <a:pt x="8391420" y="0"/>
                </a:lnTo>
                <a:cubicBezTo>
                  <a:pt x="8469316" y="226290"/>
                  <a:pt x="8665906" y="399791"/>
                  <a:pt x="8909958" y="451830"/>
                </a:cubicBezTo>
                <a:cubicBezTo>
                  <a:pt x="8872107" y="260867"/>
                  <a:pt x="8752698" y="98005"/>
                  <a:pt x="8587228" y="0"/>
                </a:cubicBezTo>
                <a:lnTo>
                  <a:pt x="8795937" y="0"/>
                </a:lnTo>
                <a:cubicBezTo>
                  <a:pt x="8927681" y="121704"/>
                  <a:pt x="9017142" y="285283"/>
                  <a:pt x="9043444" y="468437"/>
                </a:cubicBezTo>
                <a:cubicBezTo>
                  <a:pt x="9043612" y="468490"/>
                  <a:pt x="9043781" y="468495"/>
                  <a:pt x="9043950" y="468500"/>
                </a:cubicBezTo>
                <a:lnTo>
                  <a:pt x="9044490" y="475137"/>
                </a:lnTo>
                <a:cubicBezTo>
                  <a:pt x="9049547" y="505143"/>
                  <a:pt x="9051997" y="535786"/>
                  <a:pt x="9051954" y="566868"/>
                </a:cubicBezTo>
                <a:cubicBezTo>
                  <a:pt x="9053266" y="572454"/>
                  <a:pt x="9053325" y="578078"/>
                  <a:pt x="9053325" y="583715"/>
                </a:cubicBezTo>
                <a:cubicBezTo>
                  <a:pt x="9053325" y="587507"/>
                  <a:pt x="9053298" y="591293"/>
                  <a:pt x="9052732" y="595066"/>
                </a:cubicBezTo>
                <a:lnTo>
                  <a:pt x="9052233" y="595033"/>
                </a:lnTo>
                <a:lnTo>
                  <a:pt x="9052207" y="595524"/>
                </a:lnTo>
                <a:lnTo>
                  <a:pt x="9035089" y="593911"/>
                </a:lnTo>
                <a:cubicBezTo>
                  <a:pt x="9002714" y="593388"/>
                  <a:pt x="8970834" y="590430"/>
                  <a:pt x="8939662" y="584920"/>
                </a:cubicBezTo>
                <a:cubicBezTo>
                  <a:pt x="8934085" y="585336"/>
                  <a:pt x="8928756" y="584395"/>
                  <a:pt x="8923445" y="583392"/>
                </a:cubicBezTo>
                <a:lnTo>
                  <a:pt x="8923329" y="582253"/>
                </a:lnTo>
                <a:cubicBezTo>
                  <a:pt x="8601454" y="529393"/>
                  <a:pt x="8342182" y="299826"/>
                  <a:pt x="8257405" y="0"/>
                </a:cubicBezTo>
                <a:close/>
                <a:moveTo>
                  <a:pt x="7639075" y="0"/>
                </a:moveTo>
                <a:lnTo>
                  <a:pt x="7847784" y="0"/>
                </a:lnTo>
                <a:cubicBezTo>
                  <a:pt x="7682314" y="98005"/>
                  <a:pt x="7562905" y="260867"/>
                  <a:pt x="7525054" y="451830"/>
                </a:cubicBezTo>
                <a:cubicBezTo>
                  <a:pt x="7769107" y="399791"/>
                  <a:pt x="7965696" y="226290"/>
                  <a:pt x="8043592" y="0"/>
                </a:cubicBezTo>
                <a:lnTo>
                  <a:pt x="8177609" y="0"/>
                </a:lnTo>
                <a:cubicBezTo>
                  <a:pt x="8092830" y="299826"/>
                  <a:pt x="7833558" y="529393"/>
                  <a:pt x="7511683" y="582253"/>
                </a:cubicBezTo>
                <a:lnTo>
                  <a:pt x="7511567" y="583392"/>
                </a:lnTo>
                <a:cubicBezTo>
                  <a:pt x="7506256" y="584395"/>
                  <a:pt x="7500927" y="585336"/>
                  <a:pt x="7495350" y="584920"/>
                </a:cubicBezTo>
                <a:cubicBezTo>
                  <a:pt x="7464178" y="590430"/>
                  <a:pt x="7432298" y="593388"/>
                  <a:pt x="7399924" y="593911"/>
                </a:cubicBezTo>
                <a:lnTo>
                  <a:pt x="7382805" y="595524"/>
                </a:lnTo>
                <a:lnTo>
                  <a:pt x="7382779" y="595033"/>
                </a:lnTo>
                <a:lnTo>
                  <a:pt x="7382280" y="595066"/>
                </a:lnTo>
                <a:cubicBezTo>
                  <a:pt x="7381714" y="591293"/>
                  <a:pt x="7381687" y="587507"/>
                  <a:pt x="7381687" y="583715"/>
                </a:cubicBezTo>
                <a:cubicBezTo>
                  <a:pt x="7381687" y="578078"/>
                  <a:pt x="7381746" y="572454"/>
                  <a:pt x="7383058" y="566868"/>
                </a:cubicBezTo>
                <a:cubicBezTo>
                  <a:pt x="7383016" y="535786"/>
                  <a:pt x="7385465" y="505143"/>
                  <a:pt x="7390522" y="475137"/>
                </a:cubicBezTo>
                <a:lnTo>
                  <a:pt x="7391062" y="468500"/>
                </a:lnTo>
                <a:cubicBezTo>
                  <a:pt x="7391231" y="468495"/>
                  <a:pt x="7391400" y="468490"/>
                  <a:pt x="7391568" y="468437"/>
                </a:cubicBezTo>
                <a:cubicBezTo>
                  <a:pt x="7417870" y="285283"/>
                  <a:pt x="7507331" y="121703"/>
                  <a:pt x="7639075" y="0"/>
                </a:cubicBezTo>
                <a:close/>
                <a:moveTo>
                  <a:pt x="6565254" y="0"/>
                </a:moveTo>
                <a:lnTo>
                  <a:pt x="6699270" y="0"/>
                </a:lnTo>
                <a:cubicBezTo>
                  <a:pt x="6777166" y="226290"/>
                  <a:pt x="6973755" y="399791"/>
                  <a:pt x="7217807" y="451830"/>
                </a:cubicBezTo>
                <a:cubicBezTo>
                  <a:pt x="7179956" y="260867"/>
                  <a:pt x="7060547" y="98005"/>
                  <a:pt x="6895077" y="0"/>
                </a:cubicBezTo>
                <a:lnTo>
                  <a:pt x="7103787" y="0"/>
                </a:lnTo>
                <a:cubicBezTo>
                  <a:pt x="7235531" y="121704"/>
                  <a:pt x="7324992" y="285283"/>
                  <a:pt x="7351294" y="468437"/>
                </a:cubicBezTo>
                <a:cubicBezTo>
                  <a:pt x="7351461" y="468490"/>
                  <a:pt x="7351631" y="468495"/>
                  <a:pt x="7351799" y="468500"/>
                </a:cubicBezTo>
                <a:lnTo>
                  <a:pt x="7352340" y="475137"/>
                </a:lnTo>
                <a:cubicBezTo>
                  <a:pt x="7357396" y="505143"/>
                  <a:pt x="7359846" y="535786"/>
                  <a:pt x="7359804" y="566868"/>
                </a:cubicBezTo>
                <a:cubicBezTo>
                  <a:pt x="7361116" y="572454"/>
                  <a:pt x="7361174" y="578078"/>
                  <a:pt x="7361174" y="583715"/>
                </a:cubicBezTo>
                <a:cubicBezTo>
                  <a:pt x="7361174" y="587507"/>
                  <a:pt x="7361147" y="591293"/>
                  <a:pt x="7360581" y="595066"/>
                </a:cubicBezTo>
                <a:lnTo>
                  <a:pt x="7360082" y="595033"/>
                </a:lnTo>
                <a:lnTo>
                  <a:pt x="7360056" y="595524"/>
                </a:lnTo>
                <a:lnTo>
                  <a:pt x="7342938" y="593911"/>
                </a:lnTo>
                <a:cubicBezTo>
                  <a:pt x="7310564" y="593388"/>
                  <a:pt x="7278683" y="590430"/>
                  <a:pt x="7247511" y="584920"/>
                </a:cubicBezTo>
                <a:cubicBezTo>
                  <a:pt x="7241934" y="585336"/>
                  <a:pt x="7236605" y="584395"/>
                  <a:pt x="7231295" y="583392"/>
                </a:cubicBezTo>
                <a:lnTo>
                  <a:pt x="7231179" y="582253"/>
                </a:lnTo>
                <a:cubicBezTo>
                  <a:pt x="6909304" y="529393"/>
                  <a:pt x="6650032" y="299826"/>
                  <a:pt x="6565254" y="0"/>
                </a:cubicBezTo>
                <a:close/>
                <a:moveTo>
                  <a:pt x="5946924" y="0"/>
                </a:moveTo>
                <a:lnTo>
                  <a:pt x="6155633" y="0"/>
                </a:lnTo>
                <a:cubicBezTo>
                  <a:pt x="5990163" y="98005"/>
                  <a:pt x="5870754" y="260867"/>
                  <a:pt x="5832903" y="451830"/>
                </a:cubicBezTo>
                <a:cubicBezTo>
                  <a:pt x="6076956" y="399791"/>
                  <a:pt x="6273545" y="226290"/>
                  <a:pt x="6351441" y="0"/>
                </a:cubicBezTo>
                <a:lnTo>
                  <a:pt x="6485457" y="0"/>
                </a:lnTo>
                <a:cubicBezTo>
                  <a:pt x="6400679" y="299826"/>
                  <a:pt x="6141407" y="529393"/>
                  <a:pt x="5819531" y="582253"/>
                </a:cubicBezTo>
                <a:lnTo>
                  <a:pt x="5819415" y="583392"/>
                </a:lnTo>
                <a:cubicBezTo>
                  <a:pt x="5814105" y="584395"/>
                  <a:pt x="5808776" y="585336"/>
                  <a:pt x="5803199" y="584920"/>
                </a:cubicBezTo>
                <a:cubicBezTo>
                  <a:pt x="5772027" y="590430"/>
                  <a:pt x="5740146" y="593388"/>
                  <a:pt x="5707772" y="593911"/>
                </a:cubicBezTo>
                <a:lnTo>
                  <a:pt x="5690654" y="595524"/>
                </a:lnTo>
                <a:lnTo>
                  <a:pt x="5690628" y="595033"/>
                </a:lnTo>
                <a:lnTo>
                  <a:pt x="5690129" y="595066"/>
                </a:lnTo>
                <a:cubicBezTo>
                  <a:pt x="5689563" y="591293"/>
                  <a:pt x="5689536" y="587507"/>
                  <a:pt x="5689536" y="583715"/>
                </a:cubicBezTo>
                <a:cubicBezTo>
                  <a:pt x="5689536" y="578078"/>
                  <a:pt x="5689594" y="572454"/>
                  <a:pt x="5690906" y="566868"/>
                </a:cubicBezTo>
                <a:cubicBezTo>
                  <a:pt x="5690864" y="535786"/>
                  <a:pt x="5693314" y="505143"/>
                  <a:pt x="5698370" y="475137"/>
                </a:cubicBezTo>
                <a:lnTo>
                  <a:pt x="5698911" y="468500"/>
                </a:lnTo>
                <a:cubicBezTo>
                  <a:pt x="5699079" y="468495"/>
                  <a:pt x="5699249" y="468490"/>
                  <a:pt x="5699416" y="468437"/>
                </a:cubicBezTo>
                <a:cubicBezTo>
                  <a:pt x="5725719" y="285283"/>
                  <a:pt x="5815180" y="121704"/>
                  <a:pt x="5946924" y="0"/>
                </a:cubicBezTo>
                <a:close/>
                <a:moveTo>
                  <a:pt x="4873102" y="0"/>
                </a:moveTo>
                <a:lnTo>
                  <a:pt x="5007119" y="0"/>
                </a:lnTo>
                <a:cubicBezTo>
                  <a:pt x="5085015" y="226291"/>
                  <a:pt x="5281604" y="399791"/>
                  <a:pt x="5525656" y="451830"/>
                </a:cubicBezTo>
                <a:cubicBezTo>
                  <a:pt x="5487805" y="260867"/>
                  <a:pt x="5368397" y="98005"/>
                  <a:pt x="5202927" y="0"/>
                </a:cubicBezTo>
                <a:lnTo>
                  <a:pt x="5411635" y="0"/>
                </a:lnTo>
                <a:cubicBezTo>
                  <a:pt x="5543380" y="121703"/>
                  <a:pt x="5632840" y="285283"/>
                  <a:pt x="5659142" y="468437"/>
                </a:cubicBezTo>
                <a:cubicBezTo>
                  <a:pt x="5659310" y="468490"/>
                  <a:pt x="5659479" y="468495"/>
                  <a:pt x="5659648" y="468499"/>
                </a:cubicBezTo>
                <a:lnTo>
                  <a:pt x="5660188" y="475137"/>
                </a:lnTo>
                <a:cubicBezTo>
                  <a:pt x="5665245" y="505143"/>
                  <a:pt x="5667694" y="535786"/>
                  <a:pt x="5667652" y="566868"/>
                </a:cubicBezTo>
                <a:cubicBezTo>
                  <a:pt x="5668964" y="572454"/>
                  <a:pt x="5669023" y="578078"/>
                  <a:pt x="5669023" y="583715"/>
                </a:cubicBezTo>
                <a:cubicBezTo>
                  <a:pt x="5669023" y="587508"/>
                  <a:pt x="5668996" y="591293"/>
                  <a:pt x="5668430" y="595066"/>
                </a:cubicBezTo>
                <a:lnTo>
                  <a:pt x="5667931" y="595033"/>
                </a:lnTo>
                <a:lnTo>
                  <a:pt x="5667905" y="595524"/>
                </a:lnTo>
                <a:lnTo>
                  <a:pt x="5650786" y="593911"/>
                </a:lnTo>
                <a:cubicBezTo>
                  <a:pt x="5618412" y="593388"/>
                  <a:pt x="5586532" y="590430"/>
                  <a:pt x="5555360" y="584920"/>
                </a:cubicBezTo>
                <a:cubicBezTo>
                  <a:pt x="5549783" y="585336"/>
                  <a:pt x="5544454" y="584395"/>
                  <a:pt x="5539143" y="583392"/>
                </a:cubicBezTo>
                <a:lnTo>
                  <a:pt x="5539027" y="582253"/>
                </a:lnTo>
                <a:cubicBezTo>
                  <a:pt x="5217153" y="529393"/>
                  <a:pt x="4957881" y="299826"/>
                  <a:pt x="4873102" y="0"/>
                </a:cubicBezTo>
                <a:close/>
                <a:moveTo>
                  <a:pt x="4254773" y="0"/>
                </a:moveTo>
                <a:lnTo>
                  <a:pt x="4463482" y="0"/>
                </a:lnTo>
                <a:cubicBezTo>
                  <a:pt x="4298012" y="98005"/>
                  <a:pt x="4178603" y="260867"/>
                  <a:pt x="4140752" y="451830"/>
                </a:cubicBezTo>
                <a:cubicBezTo>
                  <a:pt x="4384804" y="399791"/>
                  <a:pt x="4581394" y="226291"/>
                  <a:pt x="4659290" y="0"/>
                </a:cubicBezTo>
                <a:lnTo>
                  <a:pt x="4793306" y="0"/>
                </a:lnTo>
                <a:cubicBezTo>
                  <a:pt x="4708528" y="299826"/>
                  <a:pt x="4449256" y="529393"/>
                  <a:pt x="4127381" y="582253"/>
                </a:cubicBezTo>
                <a:lnTo>
                  <a:pt x="4127264" y="583392"/>
                </a:lnTo>
                <a:cubicBezTo>
                  <a:pt x="4121954" y="584395"/>
                  <a:pt x="4116625" y="585336"/>
                  <a:pt x="4111048" y="584920"/>
                </a:cubicBezTo>
                <a:cubicBezTo>
                  <a:pt x="4079876" y="590430"/>
                  <a:pt x="4047996" y="593388"/>
                  <a:pt x="4015621" y="593911"/>
                </a:cubicBezTo>
                <a:lnTo>
                  <a:pt x="3998503" y="595524"/>
                </a:lnTo>
                <a:lnTo>
                  <a:pt x="3998477" y="595033"/>
                </a:lnTo>
                <a:lnTo>
                  <a:pt x="3997978" y="595066"/>
                </a:lnTo>
                <a:cubicBezTo>
                  <a:pt x="3997412" y="591293"/>
                  <a:pt x="3997385" y="587507"/>
                  <a:pt x="3997385" y="583715"/>
                </a:cubicBezTo>
                <a:cubicBezTo>
                  <a:pt x="3997385" y="578078"/>
                  <a:pt x="3997443" y="572454"/>
                  <a:pt x="3998755" y="566868"/>
                </a:cubicBezTo>
                <a:cubicBezTo>
                  <a:pt x="3998713" y="535786"/>
                  <a:pt x="4001163" y="505143"/>
                  <a:pt x="4006219" y="475137"/>
                </a:cubicBezTo>
                <a:lnTo>
                  <a:pt x="4006760" y="468499"/>
                </a:lnTo>
                <a:cubicBezTo>
                  <a:pt x="4006928" y="468495"/>
                  <a:pt x="4007098" y="468490"/>
                  <a:pt x="4007265" y="468437"/>
                </a:cubicBezTo>
                <a:cubicBezTo>
                  <a:pt x="4033568" y="285283"/>
                  <a:pt x="4123028" y="121703"/>
                  <a:pt x="4254773" y="0"/>
                </a:cubicBezTo>
                <a:close/>
                <a:moveTo>
                  <a:pt x="3180951" y="0"/>
                </a:moveTo>
                <a:lnTo>
                  <a:pt x="3314968" y="0"/>
                </a:lnTo>
                <a:cubicBezTo>
                  <a:pt x="3392864" y="226291"/>
                  <a:pt x="3589453" y="399791"/>
                  <a:pt x="3833505" y="451830"/>
                </a:cubicBezTo>
                <a:cubicBezTo>
                  <a:pt x="3795654" y="260867"/>
                  <a:pt x="3676245" y="98005"/>
                  <a:pt x="3510776" y="0"/>
                </a:cubicBezTo>
                <a:lnTo>
                  <a:pt x="3719484" y="0"/>
                </a:lnTo>
                <a:cubicBezTo>
                  <a:pt x="3851229" y="121703"/>
                  <a:pt x="3940689" y="285283"/>
                  <a:pt x="3966991" y="468437"/>
                </a:cubicBezTo>
                <a:cubicBezTo>
                  <a:pt x="3967159" y="468490"/>
                  <a:pt x="3967328" y="468495"/>
                  <a:pt x="3967497" y="468499"/>
                </a:cubicBezTo>
                <a:lnTo>
                  <a:pt x="3968037" y="475137"/>
                </a:lnTo>
                <a:cubicBezTo>
                  <a:pt x="3973094" y="505143"/>
                  <a:pt x="3975543" y="535786"/>
                  <a:pt x="3975501" y="566868"/>
                </a:cubicBezTo>
                <a:cubicBezTo>
                  <a:pt x="3976813" y="572454"/>
                  <a:pt x="3976872" y="578078"/>
                  <a:pt x="3976872" y="583715"/>
                </a:cubicBezTo>
                <a:cubicBezTo>
                  <a:pt x="3976872" y="587508"/>
                  <a:pt x="3976845" y="591293"/>
                  <a:pt x="3976279" y="595066"/>
                </a:cubicBezTo>
                <a:lnTo>
                  <a:pt x="3975780" y="595033"/>
                </a:lnTo>
                <a:lnTo>
                  <a:pt x="3975754" y="595524"/>
                </a:lnTo>
                <a:lnTo>
                  <a:pt x="3958635" y="593911"/>
                </a:lnTo>
                <a:cubicBezTo>
                  <a:pt x="3926261" y="593388"/>
                  <a:pt x="3894381" y="590430"/>
                  <a:pt x="3863209" y="584920"/>
                </a:cubicBezTo>
                <a:cubicBezTo>
                  <a:pt x="3857632" y="585336"/>
                  <a:pt x="3852303" y="584395"/>
                  <a:pt x="3846992" y="583392"/>
                </a:cubicBezTo>
                <a:lnTo>
                  <a:pt x="3846876" y="582253"/>
                </a:lnTo>
                <a:cubicBezTo>
                  <a:pt x="3525002" y="529393"/>
                  <a:pt x="3265729" y="299826"/>
                  <a:pt x="3180951" y="0"/>
                </a:cubicBezTo>
                <a:close/>
                <a:moveTo>
                  <a:pt x="2562622" y="0"/>
                </a:moveTo>
                <a:lnTo>
                  <a:pt x="2771330" y="0"/>
                </a:lnTo>
                <a:cubicBezTo>
                  <a:pt x="2605861" y="98005"/>
                  <a:pt x="2486452" y="260867"/>
                  <a:pt x="2448601" y="451830"/>
                </a:cubicBezTo>
                <a:cubicBezTo>
                  <a:pt x="2692653" y="399791"/>
                  <a:pt x="2889242" y="226291"/>
                  <a:pt x="2967139" y="0"/>
                </a:cubicBezTo>
                <a:lnTo>
                  <a:pt x="3101155" y="0"/>
                </a:lnTo>
                <a:cubicBezTo>
                  <a:pt x="3016377" y="299826"/>
                  <a:pt x="2757105" y="529393"/>
                  <a:pt x="2435230" y="582253"/>
                </a:cubicBezTo>
                <a:lnTo>
                  <a:pt x="2435113" y="583392"/>
                </a:lnTo>
                <a:cubicBezTo>
                  <a:pt x="2429803" y="584395"/>
                  <a:pt x="2424474" y="585336"/>
                  <a:pt x="2418897" y="584920"/>
                </a:cubicBezTo>
                <a:cubicBezTo>
                  <a:pt x="2387725" y="590430"/>
                  <a:pt x="2355845" y="593388"/>
                  <a:pt x="2323470" y="593911"/>
                </a:cubicBezTo>
                <a:lnTo>
                  <a:pt x="2306352" y="595524"/>
                </a:lnTo>
                <a:lnTo>
                  <a:pt x="2306326" y="595033"/>
                </a:lnTo>
                <a:lnTo>
                  <a:pt x="2305827" y="595066"/>
                </a:lnTo>
                <a:cubicBezTo>
                  <a:pt x="2305261" y="591293"/>
                  <a:pt x="2305234" y="587507"/>
                  <a:pt x="2305234" y="583715"/>
                </a:cubicBezTo>
                <a:cubicBezTo>
                  <a:pt x="2305234" y="578078"/>
                  <a:pt x="2305292" y="572454"/>
                  <a:pt x="2306604" y="566868"/>
                </a:cubicBezTo>
                <a:cubicBezTo>
                  <a:pt x="2306562" y="535786"/>
                  <a:pt x="2309012" y="505143"/>
                  <a:pt x="2314068" y="475137"/>
                </a:cubicBezTo>
                <a:lnTo>
                  <a:pt x="2314609" y="468499"/>
                </a:lnTo>
                <a:cubicBezTo>
                  <a:pt x="2314777" y="468495"/>
                  <a:pt x="2314947" y="468490"/>
                  <a:pt x="2315114" y="468437"/>
                </a:cubicBezTo>
                <a:cubicBezTo>
                  <a:pt x="2341417" y="285283"/>
                  <a:pt x="2430877" y="121704"/>
                  <a:pt x="2562622" y="0"/>
                </a:cubicBezTo>
                <a:close/>
                <a:moveTo>
                  <a:pt x="1488800" y="0"/>
                </a:moveTo>
                <a:lnTo>
                  <a:pt x="1622816" y="0"/>
                </a:lnTo>
                <a:cubicBezTo>
                  <a:pt x="1700712" y="226290"/>
                  <a:pt x="1897302" y="399791"/>
                  <a:pt x="2141354" y="451830"/>
                </a:cubicBezTo>
                <a:cubicBezTo>
                  <a:pt x="2103503" y="260867"/>
                  <a:pt x="1984094" y="98005"/>
                  <a:pt x="1818624" y="0"/>
                </a:cubicBezTo>
                <a:lnTo>
                  <a:pt x="2027333" y="0"/>
                </a:lnTo>
                <a:cubicBezTo>
                  <a:pt x="2159078" y="121703"/>
                  <a:pt x="2248538" y="285283"/>
                  <a:pt x="2274840" y="468437"/>
                </a:cubicBezTo>
                <a:cubicBezTo>
                  <a:pt x="2275008" y="468490"/>
                  <a:pt x="2275177" y="468495"/>
                  <a:pt x="2275346" y="468500"/>
                </a:cubicBezTo>
                <a:lnTo>
                  <a:pt x="2275886" y="475137"/>
                </a:lnTo>
                <a:cubicBezTo>
                  <a:pt x="2280943" y="505143"/>
                  <a:pt x="2283392" y="535786"/>
                  <a:pt x="2283350" y="566868"/>
                </a:cubicBezTo>
                <a:cubicBezTo>
                  <a:pt x="2284662" y="572454"/>
                  <a:pt x="2284721" y="578078"/>
                  <a:pt x="2284721" y="583715"/>
                </a:cubicBezTo>
                <a:cubicBezTo>
                  <a:pt x="2284721" y="587508"/>
                  <a:pt x="2284694" y="591293"/>
                  <a:pt x="2284128" y="595066"/>
                </a:cubicBezTo>
                <a:lnTo>
                  <a:pt x="2283629" y="595033"/>
                </a:lnTo>
                <a:lnTo>
                  <a:pt x="2283603" y="595524"/>
                </a:lnTo>
                <a:lnTo>
                  <a:pt x="2266484" y="593911"/>
                </a:lnTo>
                <a:cubicBezTo>
                  <a:pt x="2234110" y="593388"/>
                  <a:pt x="2202230" y="590430"/>
                  <a:pt x="2171058" y="584920"/>
                </a:cubicBezTo>
                <a:cubicBezTo>
                  <a:pt x="2165481" y="585336"/>
                  <a:pt x="2160152" y="584395"/>
                  <a:pt x="2154841" y="583392"/>
                </a:cubicBezTo>
                <a:lnTo>
                  <a:pt x="2154725" y="582253"/>
                </a:lnTo>
                <a:cubicBezTo>
                  <a:pt x="1832850" y="529393"/>
                  <a:pt x="1573578" y="299826"/>
                  <a:pt x="1488800" y="0"/>
                </a:cubicBezTo>
                <a:close/>
                <a:moveTo>
                  <a:pt x="870471" y="0"/>
                </a:moveTo>
                <a:lnTo>
                  <a:pt x="1079179" y="0"/>
                </a:lnTo>
                <a:cubicBezTo>
                  <a:pt x="913710" y="98005"/>
                  <a:pt x="794301" y="260867"/>
                  <a:pt x="756450" y="451830"/>
                </a:cubicBezTo>
                <a:cubicBezTo>
                  <a:pt x="1000502" y="399791"/>
                  <a:pt x="1197091" y="226291"/>
                  <a:pt x="1274988" y="0"/>
                </a:cubicBezTo>
                <a:lnTo>
                  <a:pt x="1409004" y="0"/>
                </a:lnTo>
                <a:cubicBezTo>
                  <a:pt x="1324226" y="299826"/>
                  <a:pt x="1064954" y="529393"/>
                  <a:pt x="743078" y="582253"/>
                </a:cubicBezTo>
                <a:lnTo>
                  <a:pt x="742962" y="583392"/>
                </a:lnTo>
                <a:cubicBezTo>
                  <a:pt x="737652" y="584395"/>
                  <a:pt x="732323" y="585336"/>
                  <a:pt x="726746" y="584920"/>
                </a:cubicBezTo>
                <a:cubicBezTo>
                  <a:pt x="695574" y="590430"/>
                  <a:pt x="663693" y="593388"/>
                  <a:pt x="631319" y="593911"/>
                </a:cubicBezTo>
                <a:lnTo>
                  <a:pt x="614201" y="595524"/>
                </a:lnTo>
                <a:lnTo>
                  <a:pt x="614175" y="595033"/>
                </a:lnTo>
                <a:lnTo>
                  <a:pt x="613676" y="595066"/>
                </a:lnTo>
                <a:cubicBezTo>
                  <a:pt x="613110" y="591293"/>
                  <a:pt x="613083" y="587507"/>
                  <a:pt x="613083" y="583715"/>
                </a:cubicBezTo>
                <a:cubicBezTo>
                  <a:pt x="613083" y="578078"/>
                  <a:pt x="613141" y="572454"/>
                  <a:pt x="614453" y="566868"/>
                </a:cubicBezTo>
                <a:cubicBezTo>
                  <a:pt x="614411" y="535786"/>
                  <a:pt x="616861" y="505143"/>
                  <a:pt x="621918" y="475137"/>
                </a:cubicBezTo>
                <a:lnTo>
                  <a:pt x="622458" y="468499"/>
                </a:lnTo>
                <a:cubicBezTo>
                  <a:pt x="622626" y="468495"/>
                  <a:pt x="622796" y="468490"/>
                  <a:pt x="622963" y="468437"/>
                </a:cubicBezTo>
                <a:cubicBezTo>
                  <a:pt x="649266" y="285283"/>
                  <a:pt x="738726" y="121703"/>
                  <a:pt x="870471" y="0"/>
                </a:cubicBezTo>
                <a:close/>
                <a:moveTo>
                  <a:pt x="126374" y="0"/>
                </a:moveTo>
                <a:lnTo>
                  <a:pt x="334376" y="0"/>
                </a:lnTo>
                <a:cubicBezTo>
                  <a:pt x="466684" y="121261"/>
                  <a:pt x="556352" y="285035"/>
                  <a:pt x="582690" y="468437"/>
                </a:cubicBezTo>
                <a:cubicBezTo>
                  <a:pt x="582857" y="468490"/>
                  <a:pt x="583026" y="468495"/>
                  <a:pt x="583195" y="468499"/>
                </a:cubicBezTo>
                <a:lnTo>
                  <a:pt x="583735" y="475137"/>
                </a:lnTo>
                <a:cubicBezTo>
                  <a:pt x="588792" y="505143"/>
                  <a:pt x="591242" y="535786"/>
                  <a:pt x="591199" y="566868"/>
                </a:cubicBezTo>
                <a:cubicBezTo>
                  <a:pt x="592511" y="572454"/>
                  <a:pt x="592570" y="578078"/>
                  <a:pt x="592570" y="583715"/>
                </a:cubicBezTo>
                <a:cubicBezTo>
                  <a:pt x="592570" y="587507"/>
                  <a:pt x="592543" y="591293"/>
                  <a:pt x="591977" y="595066"/>
                </a:cubicBezTo>
                <a:lnTo>
                  <a:pt x="591478" y="595033"/>
                </a:lnTo>
                <a:lnTo>
                  <a:pt x="591452" y="595524"/>
                </a:lnTo>
                <a:lnTo>
                  <a:pt x="574334" y="593911"/>
                </a:lnTo>
                <a:cubicBezTo>
                  <a:pt x="541959" y="593388"/>
                  <a:pt x="510079" y="590430"/>
                  <a:pt x="478907" y="584920"/>
                </a:cubicBezTo>
                <a:cubicBezTo>
                  <a:pt x="473330" y="585336"/>
                  <a:pt x="468001" y="584395"/>
                  <a:pt x="462690" y="583392"/>
                </a:cubicBezTo>
                <a:lnTo>
                  <a:pt x="462574" y="582253"/>
                </a:lnTo>
                <a:cubicBezTo>
                  <a:pt x="282200" y="552631"/>
                  <a:pt x="121485" y="467518"/>
                  <a:pt x="0" y="345575"/>
                </a:cubicBezTo>
                <a:lnTo>
                  <a:pt x="0" y="140406"/>
                </a:lnTo>
                <a:cubicBezTo>
                  <a:pt x="97584" y="296912"/>
                  <a:pt x="258975" y="411268"/>
                  <a:pt x="449203" y="451830"/>
                </a:cubicBezTo>
                <a:cubicBezTo>
                  <a:pt x="411344" y="260824"/>
                  <a:pt x="291889" y="97931"/>
                  <a:pt x="126374"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cxnSp>
        <p:nvCxnSpPr>
          <p:cNvPr id="28" name="Straight Connector 27">
            <a:extLst>
              <a:ext uri="{FF2B5EF4-FFF2-40B4-BE49-F238E27FC236}">
                <a16:creationId xmlns:a16="http://schemas.microsoft.com/office/drawing/2014/main" id="{5E564EB3-35F2-4EFF-87DC-642DC020526D}"/>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8386843" y="5264106"/>
            <a:ext cx="0" cy="914400"/>
          </a:xfrm>
          <a:prstGeom prst="line">
            <a:avLst/>
          </a:prstGeom>
          <a:ln w="19050">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useBgFill="1">
        <p:nvSpPr>
          <p:cNvPr id="30" name="Rectangle 29">
            <a:extLst>
              <a:ext uri="{FF2B5EF4-FFF2-40B4-BE49-F238E27FC236}">
                <a16:creationId xmlns:a16="http://schemas.microsoft.com/office/drawing/2014/main" id="{6A5AB136-1321-47B3-8AF9-A8140222B1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726" cy="68589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2" name="Title 1">
            <a:extLst>
              <a:ext uri="{FF2B5EF4-FFF2-40B4-BE49-F238E27FC236}">
                <a16:creationId xmlns:a16="http://schemas.microsoft.com/office/drawing/2014/main" id="{CCEFB9A7-C8DD-7F1A-F23E-02E2D28F5C0B}"/>
              </a:ext>
            </a:extLst>
          </p:cNvPr>
          <p:cNvSpPr>
            <a:spLocks noGrp="1"/>
          </p:cNvSpPr>
          <p:nvPr>
            <p:ph type="title"/>
          </p:nvPr>
        </p:nvSpPr>
        <p:spPr>
          <a:xfrm>
            <a:off x="643466" y="1534475"/>
            <a:ext cx="6992351" cy="3861558"/>
          </a:xfrm>
        </p:spPr>
        <p:txBody>
          <a:bodyPr vert="horz" lIns="91440" tIns="45720" rIns="91440" bIns="45720" rtlCol="0" anchor="ctr">
            <a:normAutofit/>
          </a:bodyPr>
          <a:lstStyle/>
          <a:p>
            <a:pPr algn="r"/>
            <a:r>
              <a:rPr lang="en-US" sz="6000" spc="200"/>
              <a:t>Local Government Engagement</a:t>
            </a:r>
          </a:p>
        </p:txBody>
      </p:sp>
      <p:sp>
        <p:nvSpPr>
          <p:cNvPr id="32" name="Rectangle 31">
            <a:extLst>
              <a:ext uri="{FF2B5EF4-FFF2-40B4-BE49-F238E27FC236}">
                <a16:creationId xmlns:a16="http://schemas.microsoft.com/office/drawing/2014/main" id="{3A29AB2E-91A6-4F11-8765-A410A0139EB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19870" y="0"/>
            <a:ext cx="407213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4533265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1"/>
          </p:nvPr>
        </p:nvSpPr>
        <p:spPr>
          <a:xfrm>
            <a:off x="4940490" y="258416"/>
            <a:ext cx="7026223" cy="2716795"/>
          </a:xfrm>
          <a:prstGeom prst="roundRect">
            <a:avLst/>
          </a:prstGeom>
          <a:solidFill>
            <a:schemeClr val="accent6">
              <a:lumMod val="20000"/>
              <a:lumOff val="80000"/>
              <a:alpha val="35822"/>
            </a:schemeClr>
          </a:solidFill>
          <a:ln>
            <a:noFill/>
          </a:ln>
        </p:spPr>
        <p:txBody>
          <a:bodyPr vert="horz" lIns="45720" tIns="45720" rIns="45720" bIns="45720" rtlCol="0" anchor="ctr">
            <a:normAutofit/>
          </a:bodyPr>
          <a:lstStyle/>
          <a:p>
            <a:pPr marL="0" indent="0">
              <a:buNone/>
            </a:pPr>
            <a:r>
              <a:rPr lang="en-IN" sz="2400" b="1"/>
              <a:t>The Partnership provides key federal grant information to the local governments of MA. </a:t>
            </a:r>
          </a:p>
          <a:p>
            <a:pPr marL="0" indent="0">
              <a:buNone/>
            </a:pPr>
            <a:r>
              <a:rPr lang="en-IN" sz="2000"/>
              <a:t>FFIO leads the monthly Massachusetts Federal Funds Partnership meeting. This forum delivers federal funding updates and offers a platform for addressing questions related to the many funding opportunities at the disposal of cities, towns and tribal organizations.</a:t>
            </a:r>
            <a:endParaRPr lang="en-US" sz="2000"/>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Massachusetts Federal funds partnership</a:t>
            </a: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951048" y="3105270"/>
            <a:ext cx="7015665" cy="3494314"/>
          </a:xfrm>
          <a:prstGeom prst="rect">
            <a:avLst/>
          </a:prstGeom>
        </p:spPr>
        <p:txBody>
          <a:bodyPr vert="horz" lIns="45720" tIns="45720" rIns="45720" bIns="45720" rtlCol="0" anchor="ct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r>
              <a:rPr kumimoji="0" lang="en-US" sz="2400" b="1" i="0" u="none" strike="noStrike" kern="1200" cap="none" spc="0" normalizeH="0" baseline="0" noProof="0" dirty="0">
                <a:ln>
                  <a:noFill/>
                </a:ln>
                <a:solidFill>
                  <a:prstClr val="black"/>
                </a:solidFill>
                <a:effectLst/>
                <a:uLnTx/>
                <a:uFillTx/>
                <a:latin typeface="Tw Cen MT" panose="020B0602020104020603"/>
                <a:ea typeface="+mn-ea"/>
                <a:cs typeface="+mn-cs"/>
              </a:rPr>
              <a:t>Previous Federal Funds Partnership Meeting Tuesday, March 25</a:t>
            </a:r>
            <a:r>
              <a:rPr kumimoji="0" lang="en-US" sz="2400" b="1" i="0" u="none" strike="noStrike" kern="1200" cap="none" spc="0" normalizeH="0" baseline="30000" noProof="0" dirty="0">
                <a:ln>
                  <a:noFill/>
                </a:ln>
                <a:solidFill>
                  <a:prstClr val="black"/>
                </a:solidFill>
                <a:effectLst/>
                <a:uLnTx/>
                <a:uFillTx/>
                <a:latin typeface="Tw Cen MT" panose="020B0602020104020603"/>
                <a:ea typeface="+mn-ea"/>
                <a:cs typeface="+mn-cs"/>
              </a:rPr>
              <a:t>th</a:t>
            </a:r>
            <a:endParaRPr kumimoji="0" lang="en-US" sz="24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r>
              <a:rPr lang="en-US" sz="2000" dirty="0">
                <a:solidFill>
                  <a:prstClr val="black"/>
                </a:solidFill>
                <a:latin typeface="Tw Cen MT" panose="020B0602020104020603"/>
              </a:rPr>
              <a:t>Project Prioritization for Effective Technical Assistance</a:t>
            </a: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r>
              <a:rPr lang="en-US" sz="2000" dirty="0">
                <a:solidFill>
                  <a:prstClr val="black"/>
                </a:solidFill>
                <a:latin typeface="Tw Cen MT" panose="020B0602020104020603"/>
              </a:rPr>
              <a:t>MBI Launchpad Program Presentation </a:t>
            </a:r>
            <a:endParaRPr kumimoji="0" lang="en-US" sz="2000" b="0" i="0" u="none" strike="noStrike" kern="1200" cap="none" spc="0" normalizeH="0" baseline="0" noProof="0" dirty="0">
              <a:ln>
                <a:noFill/>
              </a:ln>
              <a:solidFill>
                <a:prstClr val="black"/>
              </a:solidFill>
              <a:effectLst/>
              <a:uLnTx/>
              <a:uFillTx/>
              <a:latin typeface="Tw Cen MT" panose="020B0602020104020603"/>
              <a:ea typeface="+mn-ea"/>
              <a:cs typeface="+mn-cs"/>
            </a:endParaRP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r>
              <a:rPr kumimoji="0" lang="en-US" sz="2400" b="1" i="0" u="none" strike="noStrike" kern="1200" cap="none" spc="0" normalizeH="0" baseline="0" noProof="0" dirty="0">
                <a:ln>
                  <a:noFill/>
                </a:ln>
                <a:solidFill>
                  <a:prstClr val="black"/>
                </a:solidFill>
                <a:effectLst/>
                <a:uLnTx/>
                <a:uFillTx/>
                <a:latin typeface="Tw Cen MT" panose="020B0602020104020603"/>
                <a:ea typeface="+mn-ea"/>
                <a:cs typeface="+mn-cs"/>
              </a:rPr>
              <a:t>Next Federal Funds Partnership Meeting Tuesday, April 29</a:t>
            </a:r>
            <a:r>
              <a:rPr kumimoji="0" lang="en-US" sz="2400" b="1" i="0" u="none" strike="noStrike" kern="1200" cap="none" spc="0" normalizeH="0" baseline="30000" noProof="0" dirty="0">
                <a:ln>
                  <a:noFill/>
                </a:ln>
                <a:solidFill>
                  <a:prstClr val="black"/>
                </a:solidFill>
                <a:effectLst/>
                <a:uLnTx/>
                <a:uFillTx/>
                <a:latin typeface="Tw Cen MT" panose="020B0602020104020603"/>
                <a:ea typeface="+mn-ea"/>
                <a:cs typeface="+mn-cs"/>
              </a:rPr>
              <a:t>th</a:t>
            </a:r>
            <a:endParaRPr kumimoji="0" lang="en-US" sz="2000" b="1" i="0" u="none" strike="noStrike" kern="1200" cap="none" spc="0" normalizeH="0" baseline="30000" noProof="0" dirty="0">
              <a:ln>
                <a:noFill/>
              </a:ln>
              <a:solidFill>
                <a:prstClr val="black"/>
              </a:solidFill>
              <a:effectLst/>
              <a:uLnTx/>
              <a:uFillTx/>
              <a:latin typeface="Tw Cen MT" panose="020B0602020104020603"/>
              <a:ea typeface="+mn-ea"/>
              <a:cs typeface="+mn-cs"/>
            </a:endParaRPr>
          </a:p>
          <a:p>
            <a:pPr marL="0" marR="0" lvl="0" indent="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None/>
              <a:tabLst/>
              <a:defRPr/>
            </a:pPr>
            <a:endParaRPr kumimoji="0" lang="en-US" sz="2400" b="1" i="0" u="none" strike="noStrike" kern="1200" cap="none" spc="0" normalizeH="0" baseline="30000" noProof="0" dirty="0">
              <a:ln>
                <a:noFill/>
              </a:ln>
              <a:solidFill>
                <a:prstClr val="black"/>
              </a:solidFill>
              <a:effectLst/>
              <a:uLnTx/>
              <a:uFillTx/>
              <a:latin typeface="Tw Cen MT" panose="020B0602020104020603"/>
              <a:ea typeface="+mn-ea"/>
              <a:cs typeface="+mn-cs"/>
            </a:endParaRPr>
          </a:p>
        </p:txBody>
      </p:sp>
    </p:spTree>
    <p:extLst>
      <p:ext uri="{BB962C8B-B14F-4D97-AF65-F5344CB8AC3E}">
        <p14:creationId xmlns:p14="http://schemas.microsoft.com/office/powerpoint/2010/main" val="15617206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39E4C68A-A4A9-48A4-9FF2-D2896B1EA01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10" name="Rectangle 9">
            <a:extLst>
              <a:ext uri="{FF2B5EF4-FFF2-40B4-BE49-F238E27FC236}">
                <a16:creationId xmlns:a16="http://schemas.microsoft.com/office/drawing/2014/main" id="{E2B9AEA5-52CB-49A6-AF8A-33502F291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6"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Tw Cen MT" panose="020B0602020104020603"/>
              <a:ea typeface="+mn-ea"/>
              <a:cs typeface="+mn-cs"/>
            </a:endParaRPr>
          </a:p>
        </p:txBody>
      </p:sp>
      <p:sp>
        <p:nvSpPr>
          <p:cNvPr id="9" name="Title 1">
            <a:extLst>
              <a:ext uri="{FF2B5EF4-FFF2-40B4-BE49-F238E27FC236}">
                <a16:creationId xmlns:a16="http://schemas.microsoft.com/office/drawing/2014/main" id="{61B7AD68-2546-FA2F-A2F2-6C54E2284F2F}"/>
              </a:ext>
            </a:extLst>
          </p:cNvPr>
          <p:cNvSpPr txBox="1">
            <a:spLocks/>
          </p:cNvSpPr>
          <p:nvPr/>
        </p:nvSpPr>
        <p:spPr>
          <a:xfrm>
            <a:off x="643468" y="643467"/>
            <a:ext cx="3415612" cy="557106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engagement with RPA</a:t>
            </a:r>
            <a:r>
              <a:rPr kumimoji="0" lang="en-US" sz="5000" b="0" i="0" u="none" strike="noStrike" kern="1200" cap="none" spc="100" normalizeH="0" baseline="0" noProof="0">
                <a:ln>
                  <a:noFill/>
                </a:ln>
                <a:solidFill>
                  <a:srgbClr val="FFFFFF"/>
                </a:solidFill>
                <a:effectLst/>
                <a:uLnTx/>
                <a:uFillTx/>
                <a:latin typeface="Tw Cen MT Condensed" panose="020B0606020104020203"/>
                <a:ea typeface="+mj-ea"/>
                <a:cs typeface="+mj-cs"/>
              </a:rPr>
              <a:t>s</a:t>
            </a:r>
            <a:r>
              <a:rPr kumimoji="0" lang="en-US" sz="5000" b="0" i="0" u="none" strike="noStrike" kern="1200" cap="all" spc="100" normalizeH="0" baseline="0" noProof="0">
                <a:ln>
                  <a:noFill/>
                </a:ln>
                <a:solidFill>
                  <a:srgbClr val="FFFFFF"/>
                </a:solidFill>
                <a:effectLst/>
                <a:uLnTx/>
                <a:uFillTx/>
                <a:latin typeface="Tw Cen MT Condensed" panose="020B0606020104020203"/>
                <a:ea typeface="+mj-ea"/>
                <a:cs typeface="+mj-cs"/>
              </a:rPr>
              <a:t> and federally recognized tribes</a:t>
            </a:r>
          </a:p>
        </p:txBody>
      </p:sp>
      <p:sp>
        <p:nvSpPr>
          <p:cNvPr id="11" name="Content Placeholder 2">
            <a:extLst>
              <a:ext uri="{FF2B5EF4-FFF2-40B4-BE49-F238E27FC236}">
                <a16:creationId xmlns:a16="http://schemas.microsoft.com/office/drawing/2014/main" id="{C99D162D-B2EC-B50A-919C-1363298DF8EA}"/>
              </a:ext>
            </a:extLst>
          </p:cNvPr>
          <p:cNvSpPr txBox="1">
            <a:spLocks/>
          </p:cNvSpPr>
          <p:nvPr/>
        </p:nvSpPr>
        <p:spPr>
          <a:xfrm>
            <a:off x="4899105" y="511628"/>
            <a:ext cx="7048085" cy="6024649"/>
          </a:xfrm>
          <a:prstGeom prst="rect">
            <a:avLst/>
          </a:prstGeom>
        </p:spPr>
        <p:txBody>
          <a:bodyPr vert="horz" lIns="45720" tIns="45720" rIns="45720" bIns="45720" rtlCol="0" anchor="ctr">
            <a:norm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Tw Cen MT" panose="020B0602020104020603" pitchFamily="34" charset="0"/>
              <a:buChar char=" "/>
              <a:defRPr sz="2200" kern="1200">
                <a:solidFill>
                  <a:schemeClr val="tx1"/>
                </a:solidFill>
                <a:latin typeface="+mn-lt"/>
                <a:ea typeface="+mn-ea"/>
                <a:cs typeface="+mn-cs"/>
              </a:defRPr>
            </a:lvl1pPr>
            <a:lvl2pPr marL="26517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800" kern="1200">
                <a:solidFill>
                  <a:schemeClr val="tx1"/>
                </a:solidFill>
                <a:latin typeface="+mn-lt"/>
                <a:ea typeface="+mn-ea"/>
                <a:cs typeface="+mn-cs"/>
              </a:defRPr>
            </a:lvl2pPr>
            <a:lvl3pPr marL="4480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3pPr>
            <a:lvl4pPr marL="59436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4pPr>
            <a:lvl5pPr marL="77724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5pPr>
            <a:lvl6pPr marL="914400"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6pPr>
            <a:lvl7pPr marL="1060704"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7pPr>
            <a:lvl8pPr marL="1216152"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8pPr>
            <a:lvl9pPr marL="1362456" indent="-137160" algn="l" defTabSz="914400" rtl="0" eaLnBrk="1" latinLnBrk="0" hangingPunct="1">
              <a:lnSpc>
                <a:spcPct val="90000"/>
              </a:lnSpc>
              <a:spcBef>
                <a:spcPts val="200"/>
              </a:spcBef>
              <a:spcAft>
                <a:spcPts val="400"/>
              </a:spcAft>
              <a:buClr>
                <a:schemeClr val="accent1"/>
              </a:buClr>
              <a:buFont typeface="Wingdings 3" pitchFamily="18" charset="2"/>
              <a:buChar char=""/>
              <a:defRPr sz="1400" kern="1200">
                <a:solidFill>
                  <a:schemeClr val="tx1"/>
                </a:solidFill>
                <a:latin typeface="+mn-lt"/>
                <a:ea typeface="+mn-ea"/>
                <a:cs typeface="+mn-cs"/>
              </a:defRPr>
            </a:lvl9pPr>
          </a:lstStyle>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r>
              <a:rPr kumimoji="0" lang="en-US" sz="2400" b="1" i="0" u="none" strike="noStrike" kern="1200" cap="none" spc="0" normalizeH="0" baseline="0" noProof="0">
                <a:ln>
                  <a:noFill/>
                </a:ln>
                <a:solidFill>
                  <a:prstClr val="black"/>
                </a:solidFill>
                <a:effectLst/>
                <a:uLnTx/>
                <a:uFillTx/>
                <a:latin typeface="Tw Cen MT" panose="020B0602020104020603"/>
                <a:ea typeface="+mn-ea"/>
                <a:cs typeface="+mn-cs"/>
              </a:rPr>
              <a:t>Previous Monthly Meeting with MARPA + Federally Recognized Tribes Friday, March 7</a:t>
            </a:r>
            <a:r>
              <a:rPr kumimoji="0" lang="en-US" sz="2400" b="1" i="0" u="none" strike="noStrike" kern="1200" cap="none" spc="0" normalizeH="0" baseline="30000" noProof="0">
                <a:ln>
                  <a:noFill/>
                </a:ln>
                <a:solidFill>
                  <a:prstClr val="black"/>
                </a:solidFill>
                <a:effectLst/>
                <a:uLnTx/>
                <a:uFillTx/>
                <a:latin typeface="Tw Cen MT" panose="020B0602020104020603"/>
                <a:ea typeface="+mn-ea"/>
                <a:cs typeface="+mn-cs"/>
              </a:rPr>
              <a:t>th</a:t>
            </a:r>
            <a:endParaRPr kumimoji="0" lang="en-US" sz="1600" b="1" i="0" u="none" strike="noStrike" kern="1200" cap="none" spc="0" normalizeH="0" baseline="0" noProof="0">
              <a:ln>
                <a:noFill/>
              </a:ln>
              <a:solidFill>
                <a:prstClr val="black"/>
              </a:solidFill>
              <a:effectLst/>
              <a:uLnTx/>
              <a:uFillTx/>
              <a:latin typeface="Tw Cen MT" panose="020B0602020104020603"/>
              <a:ea typeface="+mn-ea"/>
              <a:cs typeface="+mn-cs"/>
            </a:endParaRP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Project prioritization</a:t>
            </a: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MBI Presentation</a:t>
            </a:r>
          </a:p>
          <a:p>
            <a:pPr marL="90805" marR="0" lvl="0" indent="-91440" algn="l" defTabSz="914400" rtl="0" eaLnBrk="1" fontAlgn="auto" latinLnBrk="0" hangingPunct="1">
              <a:lnSpc>
                <a:spcPct val="90000"/>
              </a:lnSpc>
              <a:spcBef>
                <a:spcPts val="1200"/>
              </a:spcBef>
              <a:spcAft>
                <a:spcPts val="200"/>
              </a:spcAft>
              <a:buClr>
                <a:srgbClr val="1CADE4"/>
              </a:buClr>
              <a:buSzPct val="100000"/>
              <a:buFont typeface="Tw Cen MT" panose="020B0602020104020603" pitchFamily="34" charset="0"/>
              <a:buChar char=" "/>
              <a:tabLst/>
              <a:defRPr/>
            </a:pPr>
            <a:r>
              <a:rPr kumimoji="0" lang="en-US" sz="2400" b="1" i="0" u="none" strike="noStrike" kern="1200" cap="none" spc="0" normalizeH="0" baseline="0" noProof="0">
                <a:ln>
                  <a:noFill/>
                </a:ln>
                <a:solidFill>
                  <a:prstClr val="black"/>
                </a:solidFill>
                <a:effectLst/>
                <a:uLnTx/>
                <a:uFillTx/>
                <a:latin typeface="Tw Cen MT" panose="020B0602020104020603"/>
                <a:ea typeface="+mn-ea"/>
                <a:cs typeface="+mn-cs"/>
              </a:rPr>
              <a:t>Next Monthly Meeting with MARPA + Federally Recognized Tribes Friday, April 4</a:t>
            </a:r>
            <a:r>
              <a:rPr kumimoji="0" lang="en-US" sz="2400" b="1" i="0" u="none" strike="noStrike" kern="1200" cap="none" spc="0" normalizeH="0" baseline="30000" noProof="0">
                <a:ln>
                  <a:noFill/>
                </a:ln>
                <a:solidFill>
                  <a:prstClr val="black"/>
                </a:solidFill>
                <a:effectLst/>
                <a:uLnTx/>
                <a:uFillTx/>
                <a:latin typeface="Tw Cen MT" panose="020B0602020104020603"/>
                <a:ea typeface="+mn-ea"/>
                <a:cs typeface="+mn-cs"/>
              </a:rPr>
              <a:t>th</a:t>
            </a:r>
            <a:endParaRPr kumimoji="0" lang="en-US" sz="2000" b="0" i="0" u="none" strike="noStrike" kern="1200" cap="none" spc="0" normalizeH="0" baseline="0" noProof="0">
              <a:ln>
                <a:noFill/>
              </a:ln>
              <a:solidFill>
                <a:prstClr val="black"/>
              </a:solidFill>
              <a:effectLst/>
              <a:highlight>
                <a:srgbClr val="FFFF00"/>
              </a:highlight>
              <a:uLnTx/>
              <a:uFillTx/>
              <a:latin typeface="Tw Cen MT" panose="020B0602020104020603"/>
              <a:ea typeface="+mn-ea"/>
              <a:cs typeface="+mn-cs"/>
            </a:endParaRP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r>
              <a:rPr kumimoji="0" lang="en-US" sz="2000" b="0" i="0" u="none" strike="noStrike" kern="1200" cap="none" spc="0" normalizeH="0" baseline="0" noProof="0">
                <a:ln>
                  <a:noFill/>
                </a:ln>
                <a:solidFill>
                  <a:prstClr val="black"/>
                </a:solidFill>
                <a:effectLst/>
                <a:uLnTx/>
                <a:uFillTx/>
                <a:latin typeface="Tw Cen MT" panose="020B0602020104020603"/>
                <a:ea typeface="+mn-ea"/>
                <a:cs typeface="+mn-cs"/>
              </a:rPr>
              <a:t>Working with RPA’s and agencies to identify technical assistance gaps.</a:t>
            </a:r>
          </a:p>
          <a:p>
            <a:pPr marL="447675" marR="0" lvl="2" indent="-137160" algn="l" defTabSz="914400" rtl="0" eaLnBrk="1" fontAlgn="auto" latinLnBrk="0" hangingPunct="1">
              <a:lnSpc>
                <a:spcPct val="90000"/>
              </a:lnSpc>
              <a:spcBef>
                <a:spcPts val="200"/>
              </a:spcBef>
              <a:spcAft>
                <a:spcPts val="400"/>
              </a:spcAft>
              <a:buClr>
                <a:srgbClr val="1CADE4"/>
              </a:buClr>
              <a:buSzTx/>
              <a:buFont typeface="Wingdings 3" pitchFamily="18" charset="2"/>
              <a:buChar char=""/>
              <a:tabLst/>
              <a:defRPr/>
            </a:pPr>
            <a:endParaRPr kumimoji="0" lang="en-US" sz="2000" b="0" i="0" u="none" strike="noStrike" kern="1200" cap="none" spc="0" normalizeH="0" baseline="0" noProof="0">
              <a:ln>
                <a:noFill/>
              </a:ln>
              <a:solidFill>
                <a:prstClr val="black"/>
              </a:solidFill>
              <a:effectLst/>
              <a:highlight>
                <a:srgbClr val="FFFF00"/>
              </a:highlight>
              <a:uLnTx/>
              <a:uFillTx/>
              <a:latin typeface="Tw Cen MT" panose="020B0602020104020603"/>
              <a:ea typeface="+mn-ea"/>
              <a:cs typeface="+mn-cs"/>
            </a:endParaRPr>
          </a:p>
        </p:txBody>
      </p:sp>
    </p:spTree>
    <p:extLst>
      <p:ext uri="{BB962C8B-B14F-4D97-AF65-F5344CB8AC3E}">
        <p14:creationId xmlns:p14="http://schemas.microsoft.com/office/powerpoint/2010/main" val="21267204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61B7AD68-2546-FA2F-A2F2-6C54E2284F2F}"/>
              </a:ext>
            </a:extLst>
          </p:cNvPr>
          <p:cNvSpPr txBox="1">
            <a:spLocks/>
          </p:cNvSpPr>
          <p:nvPr/>
        </p:nvSpPr>
        <p:spPr>
          <a:xfrm>
            <a:off x="1024128" y="585216"/>
            <a:ext cx="8018272" cy="1499616"/>
          </a:xfrm>
          <a:prstGeom prst="rect">
            <a:avLst/>
          </a:prstGeom>
        </p:spPr>
        <p:txBody>
          <a:bodyPr vert="horz" lIns="91440" tIns="45720" rIns="91440" bIns="45720" rtlCol="0" anchor="ctr">
            <a:normAutofit/>
          </a:bodyPr>
          <a:lstStyle>
            <a:lvl1pPr algn="l" defTabSz="914400" rtl="0" eaLnBrk="1" latinLnBrk="0" hangingPunct="1">
              <a:lnSpc>
                <a:spcPct val="80000"/>
              </a:lnSpc>
              <a:spcBef>
                <a:spcPct val="0"/>
              </a:spcBef>
              <a:buNone/>
              <a:defRPr sz="5000" kern="1200" cap="all" spc="100" baseline="0">
                <a:solidFill>
                  <a:schemeClr val="tx1">
                    <a:lumMod val="95000"/>
                    <a:lumOff val="5000"/>
                  </a:schemeClr>
                </a:solidFill>
                <a:latin typeface="+mj-lt"/>
                <a:ea typeface="+mj-ea"/>
                <a:cs typeface="+mj-cs"/>
              </a:defRPr>
            </a:lvl1pPr>
          </a:lstStyle>
          <a:p>
            <a:pPr marL="0" marR="0" lvl="0" indent="0" algn="l" defTabSz="914400" rtl="0" eaLnBrk="1" fontAlgn="auto" latinLnBrk="0" hangingPunct="1">
              <a:lnSpc>
                <a:spcPct val="80000"/>
              </a:lnSpc>
              <a:spcBef>
                <a:spcPct val="0"/>
              </a:spcBef>
              <a:spcAft>
                <a:spcPts val="600"/>
              </a:spcAft>
              <a:buClrTx/>
              <a:buSzTx/>
              <a:buFontTx/>
              <a:buNone/>
              <a:tabLst/>
              <a:defRPr/>
            </a:pPr>
            <a:r>
              <a:rPr kumimoji="0" lang="en-US" sz="5000" b="0" i="0" u="none" strike="noStrike" kern="1200" cap="all" spc="100" normalizeH="0" baseline="0" noProof="0">
                <a:ln>
                  <a:noFill/>
                </a:ln>
                <a:solidFill>
                  <a:prstClr val="black">
                    <a:lumMod val="95000"/>
                    <a:lumOff val="5000"/>
                  </a:prstClr>
                </a:solidFill>
                <a:effectLst/>
                <a:uLnTx/>
                <a:uFillTx/>
                <a:latin typeface="Tw Cen MT Condensed" panose="020B0606020104020203"/>
                <a:ea typeface="+mj-ea"/>
                <a:cs typeface="+mj-cs"/>
              </a:rPr>
              <a:t>FFIO Community Tour</a:t>
            </a:r>
          </a:p>
        </p:txBody>
      </p:sp>
      <p:sp>
        <p:nvSpPr>
          <p:cNvPr id="3" name="Content Placeholder 2">
            <a:extLst>
              <a:ext uri="{FF2B5EF4-FFF2-40B4-BE49-F238E27FC236}">
                <a16:creationId xmlns:a16="http://schemas.microsoft.com/office/drawing/2014/main" id="{438FAB71-C6D9-69C6-15E1-74EEA1262BBF}"/>
              </a:ext>
            </a:extLst>
          </p:cNvPr>
          <p:cNvSpPr>
            <a:spLocks noGrp="1"/>
          </p:cNvSpPr>
          <p:nvPr>
            <p:ph idx="4294967295"/>
          </p:nvPr>
        </p:nvSpPr>
        <p:spPr>
          <a:xfrm>
            <a:off x="597548" y="1566852"/>
            <a:ext cx="6062955" cy="4022725"/>
          </a:xfrm>
        </p:spPr>
        <p:txBody>
          <a:bodyPr vert="horz" lIns="45720" tIns="45720" rIns="45720" bIns="45720" rtlCol="0" anchor="t">
            <a:normAutofit/>
          </a:bodyPr>
          <a:lstStyle/>
          <a:p>
            <a:pPr marL="342900" lvl="1" indent="-342900"/>
            <a:endParaRPr lang="en-US" sz="2400" b="1"/>
          </a:p>
          <a:p>
            <a:pPr marL="525780" lvl="2" indent="-342900"/>
            <a:r>
              <a:rPr lang="en-US" sz="1800" b="1">
                <a:solidFill>
                  <a:srgbClr val="1CADE4"/>
                </a:solidFill>
              </a:rPr>
              <a:t>INFORMATION SHARING</a:t>
            </a:r>
            <a:r>
              <a:rPr lang="en-US" sz="1800"/>
              <a:t>: Provide information on federal grant application resources made available by the new legislation </a:t>
            </a:r>
          </a:p>
          <a:p>
            <a:pPr marL="525780" lvl="2" indent="-342900"/>
            <a:r>
              <a:rPr lang="en-US" sz="1800" b="1">
                <a:solidFill>
                  <a:srgbClr val="1CADE4"/>
                </a:solidFill>
              </a:rPr>
              <a:t>UNDERSTAND NEEDS AND PRIORITIES</a:t>
            </a:r>
            <a:r>
              <a:rPr lang="en-US" sz="1800" b="1"/>
              <a:t>: </a:t>
            </a:r>
            <a:r>
              <a:rPr lang="en-US" sz="1800"/>
              <a:t>Seek community input on priority projects seeking federal funding</a:t>
            </a:r>
          </a:p>
          <a:p>
            <a:pPr marL="525780" lvl="2" indent="-342900"/>
            <a:r>
              <a:rPr lang="en-US" sz="1800" b="1">
                <a:solidFill>
                  <a:srgbClr val="1CADE4"/>
                </a:solidFill>
              </a:rPr>
              <a:t>GATHER FEEDBACK</a:t>
            </a:r>
            <a:r>
              <a:rPr lang="en-US" sz="1800"/>
              <a:t>: Solicit feedback on the Federal Funds Partnership and other FFIO processes</a:t>
            </a:r>
          </a:p>
          <a:p>
            <a:pPr marL="182880" lvl="2" indent="0">
              <a:buNone/>
            </a:pPr>
            <a:endParaRPr lang="en-US" sz="1800"/>
          </a:p>
        </p:txBody>
      </p:sp>
      <p:pic>
        <p:nvPicPr>
          <p:cNvPr id="4" name="Picture 3">
            <a:extLst>
              <a:ext uri="{FF2B5EF4-FFF2-40B4-BE49-F238E27FC236}">
                <a16:creationId xmlns:a16="http://schemas.microsoft.com/office/drawing/2014/main" id="{B4E2242C-82E8-D3DC-02DB-C1379B48FAB6}"/>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6911788" y="491"/>
            <a:ext cx="5297014" cy="6857509"/>
          </a:xfrm>
          <a:prstGeom prst="rect">
            <a:avLst/>
          </a:prstGeom>
        </p:spPr>
      </p:pic>
      <p:pic>
        <p:nvPicPr>
          <p:cNvPr id="15" name="Graphic 14" descr="Marker outline">
            <a:extLst>
              <a:ext uri="{FF2B5EF4-FFF2-40B4-BE49-F238E27FC236}">
                <a16:creationId xmlns:a16="http://schemas.microsoft.com/office/drawing/2014/main" id="{D6F6D2DC-A141-97FA-86B7-BC9C355ACC1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58331" y="4420109"/>
            <a:ext cx="706120" cy="706120"/>
          </a:xfrm>
          <a:prstGeom prst="rect">
            <a:avLst/>
          </a:prstGeom>
        </p:spPr>
      </p:pic>
      <p:cxnSp>
        <p:nvCxnSpPr>
          <p:cNvPr id="16" name="Connector: Curved 18">
            <a:extLst>
              <a:ext uri="{FF2B5EF4-FFF2-40B4-BE49-F238E27FC236}">
                <a16:creationId xmlns:a16="http://schemas.microsoft.com/office/drawing/2014/main" id="{598D7587-8673-9E9A-8327-9A0EA590F182}"/>
              </a:ext>
            </a:extLst>
          </p:cNvPr>
          <p:cNvCxnSpPr>
            <a:cxnSpLocks/>
          </p:cNvCxnSpPr>
          <p:nvPr/>
        </p:nvCxnSpPr>
        <p:spPr>
          <a:xfrm>
            <a:off x="557392" y="5046746"/>
            <a:ext cx="1097354" cy="1051781"/>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7" name="Connector: Curved 20">
            <a:extLst>
              <a:ext uri="{FF2B5EF4-FFF2-40B4-BE49-F238E27FC236}">
                <a16:creationId xmlns:a16="http://schemas.microsoft.com/office/drawing/2014/main" id="{6C61E914-8ED6-75FB-7E05-D33B707D9243}"/>
              </a:ext>
            </a:extLst>
          </p:cNvPr>
          <p:cNvCxnSpPr>
            <a:cxnSpLocks/>
          </p:cNvCxnSpPr>
          <p:nvPr/>
        </p:nvCxnSpPr>
        <p:spPr>
          <a:xfrm flipV="1">
            <a:off x="1648027" y="5765037"/>
            <a:ext cx="1452790" cy="333490"/>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8" name="TextBox 17">
            <a:extLst>
              <a:ext uri="{FF2B5EF4-FFF2-40B4-BE49-F238E27FC236}">
                <a16:creationId xmlns:a16="http://schemas.microsoft.com/office/drawing/2014/main" id="{948B3901-F227-88C5-1D1A-F1E84F6CA2CA}"/>
              </a:ext>
            </a:extLst>
          </p:cNvPr>
          <p:cNvSpPr txBox="1"/>
          <p:nvPr/>
        </p:nvSpPr>
        <p:spPr>
          <a:xfrm>
            <a:off x="970924" y="6098527"/>
            <a:ext cx="163289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WORCESTER</a:t>
            </a:r>
          </a:p>
        </p:txBody>
      </p:sp>
      <p:sp>
        <p:nvSpPr>
          <p:cNvPr id="20" name="TextBox 19">
            <a:extLst>
              <a:ext uri="{FF2B5EF4-FFF2-40B4-BE49-F238E27FC236}">
                <a16:creationId xmlns:a16="http://schemas.microsoft.com/office/drawing/2014/main" id="{DEC32FC3-55A4-E3AA-754B-93D636BDA57C}"/>
              </a:ext>
            </a:extLst>
          </p:cNvPr>
          <p:cNvSpPr txBox="1"/>
          <p:nvPr/>
        </p:nvSpPr>
        <p:spPr>
          <a:xfrm>
            <a:off x="2554111" y="5821528"/>
            <a:ext cx="1632898"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HAVERHILL</a:t>
            </a:r>
          </a:p>
        </p:txBody>
      </p:sp>
      <p:cxnSp>
        <p:nvCxnSpPr>
          <p:cNvPr id="22" name="Connector: Curved 26">
            <a:extLst>
              <a:ext uri="{FF2B5EF4-FFF2-40B4-BE49-F238E27FC236}">
                <a16:creationId xmlns:a16="http://schemas.microsoft.com/office/drawing/2014/main" id="{16809AB9-1DB2-B4BD-C8E3-541BE5DE6DAB}"/>
              </a:ext>
            </a:extLst>
          </p:cNvPr>
          <p:cNvCxnSpPr>
            <a:cxnSpLocks/>
          </p:cNvCxnSpPr>
          <p:nvPr/>
        </p:nvCxnSpPr>
        <p:spPr>
          <a:xfrm flipV="1">
            <a:off x="3159756" y="5126229"/>
            <a:ext cx="1442791" cy="638807"/>
          </a:xfrm>
          <a:prstGeom prst="curvedConnector3">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6" name="Straight Arrow Connector 25">
            <a:extLst>
              <a:ext uri="{FF2B5EF4-FFF2-40B4-BE49-F238E27FC236}">
                <a16:creationId xmlns:a16="http://schemas.microsoft.com/office/drawing/2014/main" id="{9F98E5EC-484A-62A9-5DE6-CE7D504A60E8}"/>
              </a:ext>
            </a:extLst>
          </p:cNvPr>
          <p:cNvCxnSpPr>
            <a:cxnSpLocks/>
          </p:cNvCxnSpPr>
          <p:nvPr/>
        </p:nvCxnSpPr>
        <p:spPr>
          <a:xfrm>
            <a:off x="6660503" y="5602090"/>
            <a:ext cx="204293"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Connector: Curved 5">
            <a:extLst>
              <a:ext uri="{FF2B5EF4-FFF2-40B4-BE49-F238E27FC236}">
                <a16:creationId xmlns:a16="http://schemas.microsoft.com/office/drawing/2014/main" id="{8DF9F752-057A-E7CF-1039-AE6C1C6BADAB}"/>
              </a:ext>
            </a:extLst>
          </p:cNvPr>
          <p:cNvCxnSpPr>
            <a:cxnSpLocks/>
          </p:cNvCxnSpPr>
          <p:nvPr/>
        </p:nvCxnSpPr>
        <p:spPr>
          <a:xfrm>
            <a:off x="4686827" y="5126229"/>
            <a:ext cx="2067748" cy="475861"/>
          </a:xfrm>
          <a:prstGeom prst="curvedConnector3">
            <a:avLst>
              <a:gd name="adj1" fmla="val 50000"/>
            </a:avLst>
          </a:prstGeom>
          <a:ln w="19050"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30" name="Graphic 29" descr="Marker outline">
            <a:extLst>
              <a:ext uri="{FF2B5EF4-FFF2-40B4-BE49-F238E27FC236}">
                <a16:creationId xmlns:a16="http://schemas.microsoft.com/office/drawing/2014/main" id="{6E51326A-F30E-E61E-943B-9BD6E2A05C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278826" y="4539045"/>
            <a:ext cx="706120" cy="706120"/>
          </a:xfrm>
          <a:prstGeom prst="rect">
            <a:avLst/>
          </a:prstGeom>
        </p:spPr>
      </p:pic>
      <p:sp>
        <p:nvSpPr>
          <p:cNvPr id="31" name="TextBox 30">
            <a:extLst>
              <a:ext uri="{FF2B5EF4-FFF2-40B4-BE49-F238E27FC236}">
                <a16:creationId xmlns:a16="http://schemas.microsoft.com/office/drawing/2014/main" id="{34D20D0F-6FCF-BDE8-9715-EA5D7DCB6742}"/>
              </a:ext>
            </a:extLst>
          </p:cNvPr>
          <p:cNvSpPr txBox="1"/>
          <p:nvPr/>
        </p:nvSpPr>
        <p:spPr>
          <a:xfrm>
            <a:off x="4050721" y="5227196"/>
            <a:ext cx="1632898" cy="369332"/>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BROCKTON</a:t>
            </a:r>
          </a:p>
        </p:txBody>
      </p:sp>
      <p:pic>
        <p:nvPicPr>
          <p:cNvPr id="32" name="Graphic 31" descr="Marker outline">
            <a:extLst>
              <a:ext uri="{FF2B5EF4-FFF2-40B4-BE49-F238E27FC236}">
                <a16:creationId xmlns:a16="http://schemas.microsoft.com/office/drawing/2014/main" id="{461E03C6-3418-4142-F0BE-8319D9A8FC8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306411" y="5466589"/>
            <a:ext cx="706120" cy="706120"/>
          </a:xfrm>
          <a:prstGeom prst="rect">
            <a:avLst/>
          </a:prstGeom>
        </p:spPr>
      </p:pic>
      <p:pic>
        <p:nvPicPr>
          <p:cNvPr id="33" name="Graphic 32" descr="Marker outline">
            <a:extLst>
              <a:ext uri="{FF2B5EF4-FFF2-40B4-BE49-F238E27FC236}">
                <a16:creationId xmlns:a16="http://schemas.microsoft.com/office/drawing/2014/main" id="{7A8BCF02-3215-3FF9-1768-74F3EAB5D1B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49131" y="5131309"/>
            <a:ext cx="706120" cy="706120"/>
          </a:xfrm>
          <a:prstGeom prst="rect">
            <a:avLst/>
          </a:prstGeom>
        </p:spPr>
      </p:pic>
      <p:pic>
        <p:nvPicPr>
          <p:cNvPr id="34" name="Graphic 33" descr="Marker outline">
            <a:extLst>
              <a:ext uri="{FF2B5EF4-FFF2-40B4-BE49-F238E27FC236}">
                <a16:creationId xmlns:a16="http://schemas.microsoft.com/office/drawing/2014/main" id="{BD3586F9-80B9-C433-BABC-82FB4705D8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786640" y="4892105"/>
            <a:ext cx="706120" cy="706120"/>
          </a:xfrm>
          <a:prstGeom prst="rect">
            <a:avLst/>
          </a:prstGeom>
        </p:spPr>
      </p:pic>
      <p:sp>
        <p:nvSpPr>
          <p:cNvPr id="35" name="TextBox 34">
            <a:extLst>
              <a:ext uri="{FF2B5EF4-FFF2-40B4-BE49-F238E27FC236}">
                <a16:creationId xmlns:a16="http://schemas.microsoft.com/office/drawing/2014/main" id="{45408371-3851-6DEC-FF02-1841D0A4600B}"/>
              </a:ext>
            </a:extLst>
          </p:cNvPr>
          <p:cNvSpPr txBox="1"/>
          <p:nvPr/>
        </p:nvSpPr>
        <p:spPr>
          <a:xfrm>
            <a:off x="5588250" y="5587934"/>
            <a:ext cx="1632898" cy="584775"/>
          </a:xfrm>
          <a:prstGeom prst="rect">
            <a:avLst/>
          </a:prstGeom>
          <a:noFill/>
        </p:spPr>
        <p:txBody>
          <a:bodyPr wrap="square" lIns="91440" tIns="45720" rIns="91440" bIns="45720"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BOST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0000"/>
                </a:solidFill>
                <a:effectLst/>
                <a:uLnTx/>
                <a:uFillTx/>
                <a:latin typeface="Tw Cen MT" panose="020B0602020104020603"/>
                <a:ea typeface="+mn-ea"/>
                <a:cs typeface="+mn-cs"/>
              </a:rPr>
              <a:t>  (April 9th)</a:t>
            </a:r>
          </a:p>
        </p:txBody>
      </p:sp>
      <p:sp>
        <p:nvSpPr>
          <p:cNvPr id="36" name="TextBox 35">
            <a:extLst>
              <a:ext uri="{FF2B5EF4-FFF2-40B4-BE49-F238E27FC236}">
                <a16:creationId xmlns:a16="http://schemas.microsoft.com/office/drawing/2014/main" id="{AA7FEAEA-740E-6548-30B4-6E689E767ED4}"/>
              </a:ext>
            </a:extLst>
          </p:cNvPr>
          <p:cNvSpPr txBox="1"/>
          <p:nvPr/>
        </p:nvSpPr>
        <p:spPr>
          <a:xfrm>
            <a:off x="-84467" y="5126229"/>
            <a:ext cx="129680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Tw Cen MT" panose="020B0602020104020603"/>
                <a:ea typeface="+mn-ea"/>
                <a:cs typeface="+mn-cs"/>
              </a:rPr>
              <a:t>PITTSFIELD</a:t>
            </a:r>
          </a:p>
        </p:txBody>
      </p:sp>
    </p:spTree>
    <p:extLst>
      <p:ext uri="{BB962C8B-B14F-4D97-AF65-F5344CB8AC3E}">
        <p14:creationId xmlns:p14="http://schemas.microsoft.com/office/powerpoint/2010/main" val="29363216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Integral">
  <a:themeElements>
    <a:clrScheme name="Custom 1">
      <a:dk1>
        <a:sysClr val="windowText" lastClr="000000"/>
      </a:dk1>
      <a:lt1>
        <a:sysClr val="window" lastClr="FFFFFF"/>
      </a:lt1>
      <a:dk2>
        <a:srgbClr val="1CADE4"/>
      </a:dk2>
      <a:lt2>
        <a:srgbClr val="DFE3E5"/>
      </a:lt2>
      <a:accent1>
        <a:srgbClr val="1CADE4"/>
      </a:accent1>
      <a:accent2>
        <a:srgbClr val="2683C6"/>
      </a:accent2>
      <a:accent3>
        <a:srgbClr val="27CED7"/>
      </a:accent3>
      <a:accent4>
        <a:srgbClr val="42BA97"/>
      </a:accent4>
      <a:accent5>
        <a:srgbClr val="3E8853"/>
      </a:accent5>
      <a:accent6>
        <a:srgbClr val="62A39F"/>
      </a:accent6>
      <a:hlink>
        <a:srgbClr val="6B9F25"/>
      </a:hlink>
      <a:folHlink>
        <a:srgbClr val="B26B02"/>
      </a:folHlink>
    </a:clrScheme>
    <a:fontScheme name="Integral">
      <a:majorFont>
        <a:latin typeface="Tw Cen MT Condensed" panose="020B06060201040202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panose="020B0602020104020603"/>
        <a:ea typeface=""/>
        <a:cs typeface=""/>
        <a:font script="Grek" typeface="Calibri"/>
        <a:font script="Cyrl" typeface="Calibri"/>
        <a:font script="Jpan" typeface="メイリオ"/>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Integral">
      <a:fillStyleLst>
        <a:solidFill>
          <a:schemeClr val="phClr"/>
        </a:solidFill>
        <a:gradFill rotWithShape="1">
          <a:gsLst>
            <a:gs pos="0">
              <a:schemeClr val="phClr">
                <a:tint val="83000"/>
                <a:satMod val="100000"/>
                <a:lumMod val="100000"/>
              </a:schemeClr>
            </a:gs>
            <a:gs pos="100000">
              <a:schemeClr val="phClr">
                <a:tint val="61000"/>
                <a:satMod val="150000"/>
                <a:lumMod val="100000"/>
              </a:schemeClr>
            </a:gs>
          </a:gsLst>
          <a:path path="circle">
            <a:fillToRect l="100000" t="100000" r="100000" b="100000"/>
          </a:path>
        </a:gradFill>
        <a:gradFill rotWithShape="1">
          <a:gsLst>
            <a:gs pos="0">
              <a:schemeClr val="phClr">
                <a:tint val="100000"/>
                <a:shade val="85000"/>
                <a:satMod val="100000"/>
                <a:lumMod val="100000"/>
              </a:schemeClr>
            </a:gs>
            <a:gs pos="100000">
              <a:schemeClr val="phClr">
                <a:tint val="90000"/>
                <a:shade val="100000"/>
                <a:satMod val="150000"/>
                <a:lumMod val="100000"/>
              </a:schemeClr>
            </a:gs>
          </a:gsLst>
          <a:path path="circle">
            <a:fillToRect l="100000" t="100000" r="100000" b="100000"/>
          </a:path>
        </a:gradFill>
      </a:fillStyleLst>
      <a:lnStyleLst>
        <a:ln w="9525" cap="flat" cmpd="sng" algn="ctr">
          <a:solidFill>
            <a:schemeClr val="phClr"/>
          </a:solidFill>
          <a:prstDash val="solid"/>
        </a:ln>
        <a:ln w="15875"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50800" dist="12700" dir="5400000" algn="ctr" rotWithShape="0">
              <a:srgbClr val="000000">
                <a:alpha val="50000"/>
              </a:srgbClr>
            </a:outerShdw>
          </a:effectLst>
        </a:effectStyle>
        <a:effectStyle>
          <a:effectLst>
            <a:outerShdw blurRad="76200" dist="25400" dir="5400000" algn="ctr" rotWithShape="0">
              <a:srgbClr val="000000">
                <a:alpha val="60000"/>
              </a:srgbClr>
            </a:outerShdw>
          </a:effectLst>
          <a:scene3d>
            <a:camera prst="orthographicFront">
              <a:rot lat="0" lon="0" rev="0"/>
            </a:camera>
            <a:lightRig rig="flat" dir="t">
              <a:rot lat="0" lon="0" rev="3600000"/>
            </a:lightRig>
          </a:scene3d>
          <a:sp3d contourW="12700" prstMaterial="flat">
            <a:bevelT w="38100" h="44450" prst="angle"/>
            <a:contourClr>
              <a:schemeClr val="phClr">
                <a:shade val="35000"/>
                <a:satMod val="160000"/>
              </a:schemeClr>
            </a:contourClr>
          </a:sp3d>
        </a:effectStyle>
      </a:effectStyleLst>
      <a:bgFillStyleLst>
        <a:solidFill>
          <a:schemeClr val="phClr"/>
        </a:solidFill>
        <a:solidFill>
          <a:schemeClr val="phClr">
            <a:tint val="95000"/>
            <a:shade val="85000"/>
            <a:satMod val="125000"/>
          </a:schemeClr>
        </a:solidFill>
        <a:blipFill rotWithShape="1">
          <a:blip xmlns:r="http://schemas.openxmlformats.org/officeDocument/2006/relationships" r:embed="rId1">
            <a:duotone>
              <a:schemeClr val="phClr">
                <a:tint val="95000"/>
                <a:shade val="74000"/>
                <a:satMod val="230000"/>
              </a:schemeClr>
              <a:schemeClr val="phClr">
                <a:tint val="92000"/>
                <a:shade val="69000"/>
                <a:satMod val="250000"/>
              </a:schemeClr>
            </a:duotone>
          </a:blip>
          <a:tile tx="0" ty="0" sx="40000" sy="40000" flip="none" algn="tl"/>
        </a:blipFill>
      </a:bgFillStyleLst>
    </a:fmtScheme>
  </a:themeElements>
  <a:objectDefaults/>
  <a:extraClrSchemeLst/>
  <a:extLst>
    <a:ext uri="{05A4C25C-085E-4340-85A3-A5531E510DB2}">
      <thm15:themeFamily xmlns:thm15="http://schemas.microsoft.com/office/thememl/2012/main" name="Integral" id="{3577F8C9-A904-41D8-97D2-FD898F53F20E}" vid="{682D6EBE-8D36-4FF2-9DB3-F3D8D7B671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bca20fd0-1d1f-44ac-8486-0fcbd3ca37a4">
      <Terms xmlns="http://schemas.microsoft.com/office/infopath/2007/PartnerControls"/>
    </lcf76f155ced4ddcb4097134ff3c332f>
    <TaxCatchAll xmlns="2d5013aa-fb15-41bb-bd6f-83b72aea7b3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5267D306CC2AB9439580D8D9E7721135" ma:contentTypeVersion="14" ma:contentTypeDescription="Create a new document." ma:contentTypeScope="" ma:versionID="3ebc0c2e3e562912fa27ee86ec372a89">
  <xsd:schema xmlns:xsd="http://www.w3.org/2001/XMLSchema" xmlns:xs="http://www.w3.org/2001/XMLSchema" xmlns:p="http://schemas.microsoft.com/office/2006/metadata/properties" xmlns:ns2="bca20fd0-1d1f-44ac-8486-0fcbd3ca37a4" xmlns:ns3="2d5013aa-fb15-41bb-bd6f-83b72aea7b34" targetNamespace="http://schemas.microsoft.com/office/2006/metadata/properties" ma:root="true" ma:fieldsID="be003f2b293049502281ee85cb697aa6" ns2:_="" ns3:_="">
    <xsd:import namespace="bca20fd0-1d1f-44ac-8486-0fcbd3ca37a4"/>
    <xsd:import namespace="2d5013aa-fb15-41bb-bd6f-83b72aea7b3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a20fd0-1d1f-44ac-8486-0fcbd3ca37a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d5013aa-fb15-41bb-bd6f-83b72aea7b34"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97debb64-58ec-418c-bee6-31f5618343a5}" ma:internalName="TaxCatchAll" ma:showField="CatchAllData" ma:web="2d5013aa-fb15-41bb-bd6f-83b72aea7b3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800099C-6028-4642-B346-BB6B17F52960}">
  <ds:schemaRefs>
    <ds:schemaRef ds:uri="http://purl.org/dc/elements/1.1/"/>
    <ds:schemaRef ds:uri="bca20fd0-1d1f-44ac-8486-0fcbd3ca37a4"/>
    <ds:schemaRef ds:uri="http://www.w3.org/XML/1998/namespace"/>
    <ds:schemaRef ds:uri="http://schemas.microsoft.com/office/2006/metadata/properties"/>
    <ds:schemaRef ds:uri="http://schemas.microsoft.com/office/infopath/2007/PartnerControls"/>
    <ds:schemaRef ds:uri="http://schemas.microsoft.com/office/2006/documentManagement/types"/>
    <ds:schemaRef ds:uri="http://purl.org/dc/terms/"/>
    <ds:schemaRef ds:uri="http://schemas.openxmlformats.org/package/2006/metadata/core-properties"/>
    <ds:schemaRef ds:uri="2d5013aa-fb15-41bb-bd6f-83b72aea7b34"/>
    <ds:schemaRef ds:uri="http://purl.org/dc/dcmitype/"/>
  </ds:schemaRefs>
</ds:datastoreItem>
</file>

<file path=customXml/itemProps2.xml><?xml version="1.0" encoding="utf-8"?>
<ds:datastoreItem xmlns:ds="http://schemas.openxmlformats.org/officeDocument/2006/customXml" ds:itemID="{1D4F74D7-5E6F-4BE4-B14C-0615980AF4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a20fd0-1d1f-44ac-8486-0fcbd3ca37a4"/>
    <ds:schemaRef ds:uri="2d5013aa-fb15-41bb-bd6f-83b72aea7b3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5350BD9-82C8-4115-AD2F-43D9048C0E8F}">
  <ds:schemaRefs>
    <ds:schemaRef ds:uri="http://schemas.microsoft.com/sharepoint/v3/contenttype/forms"/>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emplate>office theme</Template>
  <TotalTime>64</TotalTime>
  <Words>654</Words>
  <Application>Microsoft Office PowerPoint</Application>
  <PresentationFormat>Widescreen</PresentationFormat>
  <Paragraphs>73</Paragraphs>
  <Slides>14</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3" baseType="lpstr">
      <vt:lpstr>Aptos</vt:lpstr>
      <vt:lpstr>Arial</vt:lpstr>
      <vt:lpstr>Calibri</vt:lpstr>
      <vt:lpstr>Tw Cen MT</vt:lpstr>
      <vt:lpstr>Tw Cen MT</vt:lpstr>
      <vt:lpstr>Tw Cen MT Condensed</vt:lpstr>
      <vt:lpstr>Wingdings 3</vt:lpstr>
      <vt:lpstr>Integral</vt:lpstr>
      <vt:lpstr>think-cell Slide</vt:lpstr>
      <vt:lpstr>Federal funding &amp; Massachusetts A Better City conversation</vt:lpstr>
      <vt:lpstr>Agenda</vt:lpstr>
      <vt:lpstr>About the Federal Funds and Infrastructure Office (FFIO)</vt:lpstr>
      <vt:lpstr>Federal outlook and  strategies for competitiveness</vt:lpstr>
      <vt:lpstr>FFIO’s strategies for ensuring competitiveness</vt:lpstr>
      <vt:lpstr>Local Government Engagement</vt:lpstr>
      <vt:lpstr>PowerPoint Presentation</vt:lpstr>
      <vt:lpstr>PowerPoint Presentation</vt:lpstr>
      <vt:lpstr>PowerPoint Presentation</vt:lpstr>
      <vt:lpstr>Federal Matching Funds Legislation</vt:lpstr>
      <vt:lpstr>PowerPoint Presentation</vt:lpstr>
      <vt:lpstr>Project focus:  Allston multimodal project</vt:lpstr>
      <vt:lpstr>PowerPoint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Leann Kosior</cp:lastModifiedBy>
  <cp:revision>4</cp:revision>
  <dcterms:created xsi:type="dcterms:W3CDTF">2013-07-15T20:26:40Z</dcterms:created>
  <dcterms:modified xsi:type="dcterms:W3CDTF">2025-04-01T18:18: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267D306CC2AB9439580D8D9E7721135</vt:lpwstr>
  </property>
  <property fmtid="{D5CDD505-2E9C-101B-9397-08002B2CF9AE}" pid="3" name="MediaServiceImageTags">
    <vt:lpwstr/>
  </property>
</Properties>
</file>